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60" r:id="rId2"/>
  </p:sldMasterIdLst>
  <p:notesMasterIdLst>
    <p:notesMasterId r:id="rId46"/>
  </p:notesMasterIdLst>
  <p:handoutMasterIdLst>
    <p:handoutMasterId r:id="rId47"/>
  </p:handoutMasterIdLst>
  <p:sldIdLst>
    <p:sldId id="410" r:id="rId3"/>
    <p:sldId id="402" r:id="rId4"/>
    <p:sldId id="411" r:id="rId5"/>
    <p:sldId id="412" r:id="rId6"/>
    <p:sldId id="413" r:id="rId7"/>
    <p:sldId id="414" r:id="rId8"/>
    <p:sldId id="465" r:id="rId9"/>
    <p:sldId id="466" r:id="rId10"/>
    <p:sldId id="415" r:id="rId11"/>
    <p:sldId id="467" r:id="rId12"/>
    <p:sldId id="416" r:id="rId13"/>
    <p:sldId id="468" r:id="rId14"/>
    <p:sldId id="417" r:id="rId15"/>
    <p:sldId id="418" r:id="rId16"/>
    <p:sldId id="469" r:id="rId17"/>
    <p:sldId id="419" r:id="rId18"/>
    <p:sldId id="420" r:id="rId19"/>
    <p:sldId id="421" r:id="rId20"/>
    <p:sldId id="422" r:id="rId21"/>
    <p:sldId id="423" r:id="rId22"/>
    <p:sldId id="426" r:id="rId23"/>
    <p:sldId id="470" r:id="rId24"/>
    <p:sldId id="471" r:id="rId25"/>
    <p:sldId id="424" r:id="rId26"/>
    <p:sldId id="425" r:id="rId27"/>
    <p:sldId id="472" r:id="rId28"/>
    <p:sldId id="427" r:id="rId29"/>
    <p:sldId id="428" r:id="rId30"/>
    <p:sldId id="429" r:id="rId31"/>
    <p:sldId id="440" r:id="rId32"/>
    <p:sldId id="441" r:id="rId33"/>
    <p:sldId id="442" r:id="rId34"/>
    <p:sldId id="444" r:id="rId35"/>
    <p:sldId id="445" r:id="rId36"/>
    <p:sldId id="446" r:id="rId37"/>
    <p:sldId id="447" r:id="rId38"/>
    <p:sldId id="448" r:id="rId39"/>
    <p:sldId id="449" r:id="rId40"/>
    <p:sldId id="473" r:id="rId41"/>
    <p:sldId id="450" r:id="rId42"/>
    <p:sldId id="451" r:id="rId43"/>
    <p:sldId id="452" r:id="rId44"/>
    <p:sldId id="409" r:id="rId45"/>
  </p:sldIdLst>
  <p:sldSz cx="9144000" cy="6858000" type="screen4x3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4170">
          <p15:clr>
            <a:srgbClr val="A4A3A4"/>
          </p15:clr>
        </p15:guide>
        <p15:guide id="4" orient="horz" pos="2398">
          <p15:clr>
            <a:srgbClr val="A4A3A4"/>
          </p15:clr>
        </p15:guide>
        <p15:guide id="5" pos="552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D2FF"/>
    <a:srgbClr val="4CC8E1"/>
    <a:srgbClr val="D9D9D9"/>
    <a:srgbClr val="12213F"/>
    <a:srgbClr val="72B1D4"/>
    <a:srgbClr val="D0D8E8"/>
    <a:srgbClr val="F2E766"/>
    <a:srgbClr val="173075"/>
    <a:srgbClr val="6FB7D7"/>
    <a:srgbClr val="6FA1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588" autoAdjust="0"/>
    <p:restoredTop sz="80114" autoAdjust="0"/>
  </p:normalViewPr>
  <p:slideViewPr>
    <p:cSldViewPr snapToGrid="0" snapToObjects="1">
      <p:cViewPr varScale="1">
        <p:scale>
          <a:sx n="71" d="100"/>
          <a:sy n="71" d="100"/>
        </p:scale>
        <p:origin x="2112" y="53"/>
      </p:cViewPr>
      <p:guideLst>
        <p:guide orient="horz" pos="2160"/>
        <p:guide pos="2880"/>
        <p:guide orient="horz" pos="4170"/>
        <p:guide orient="horz" pos="2398"/>
        <p:guide pos="5529"/>
      </p:guideLst>
    </p:cSldViewPr>
  </p:slideViewPr>
  <p:outlineViewPr>
    <p:cViewPr>
      <p:scale>
        <a:sx n="33" d="100"/>
        <a:sy n="33" d="100"/>
      </p:scale>
      <p:origin x="0" y="-123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91" d="100"/>
          <a:sy n="91" d="100"/>
        </p:scale>
        <p:origin x="2966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handoutMaster" Target="handoutMasters/handoutMaster1.xml"/><Relationship Id="rId50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6AE789F-4E85-1445-AE9F-2A800BF69798}" type="datetimeFigureOut">
              <a:rPr lang="en-US" smtClean="0"/>
              <a:t>1/3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56B5B82-A478-A641-BCD9-254457D72B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7634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7483C50-2863-4A46-831D-CAC0CABC9F59}" type="datetimeFigureOut">
              <a:rPr lang="en-US" smtClean="0"/>
              <a:t>1/3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09DBC92-98EF-AE46-AB88-4EE590D24A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2417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57066" indent="-291179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64717" indent="-23294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30604" indent="-23294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96491" indent="-23294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62377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028264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94151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960038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5774E9FC-B226-40AF-B59E-6D5BC61D7E89}" type="slidenum">
              <a:rPr lang="en-US" altLang="en-US" smtClean="0"/>
              <a:pPr eaLnBrk="1" hangingPunct="1"/>
              <a:t>4</a:t>
            </a:fld>
            <a:endParaRPr lang="en-US" altLang="en-US" smtClean="0"/>
          </a:p>
        </p:txBody>
      </p:sp>
      <p:sp>
        <p:nvSpPr>
          <p:cNvPr id="57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a-IR" altLang="en-US" smtClean="0"/>
          </a:p>
        </p:txBody>
      </p:sp>
    </p:spTree>
    <p:extLst>
      <p:ext uri="{BB962C8B-B14F-4D97-AF65-F5344CB8AC3E}">
        <p14:creationId xmlns:p14="http://schemas.microsoft.com/office/powerpoint/2010/main" val="21714993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1824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57066" indent="-291179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64717" indent="-23294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30604" indent="-23294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96491" indent="-23294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62377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028264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94151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960038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47DA70B3-4438-492F-A318-B602FDFC6A70}" type="slidenum">
              <a:rPr lang="en-US" altLang="en-US" smtClean="0"/>
              <a:pPr eaLnBrk="1" hangingPunct="1"/>
              <a:t>21</a:t>
            </a:fld>
            <a:endParaRPr lang="en-US" altLang="en-US" smtClean="0"/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a-IR" altLang="en-US" smtClean="0"/>
          </a:p>
        </p:txBody>
      </p:sp>
    </p:spTree>
    <p:extLst>
      <p:ext uri="{BB962C8B-B14F-4D97-AF65-F5344CB8AC3E}">
        <p14:creationId xmlns:p14="http://schemas.microsoft.com/office/powerpoint/2010/main" val="31578565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144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a-IR" altLang="en-US" smtClean="0"/>
          </a:p>
        </p:txBody>
      </p:sp>
      <p:sp>
        <p:nvSpPr>
          <p:cNvPr id="6144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57066" indent="-291179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64717" indent="-23294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30604" indent="-23294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96491" indent="-23294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62377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028264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94151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960038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0432553B-60C8-4291-8C94-FF35C6583CA0}" type="slidenum">
              <a:rPr lang="en-US" altLang="en-US" smtClean="0"/>
              <a:pPr eaLnBrk="1" hangingPunct="1"/>
              <a:t>24</a:t>
            </a:fld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22629088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ll masks</a:t>
            </a:r>
            <a:r>
              <a:rPr lang="en-US" baseline="0" dirty="0" smtClean="0"/>
              <a:t> (non-</a:t>
            </a:r>
            <a:r>
              <a:rPr lang="en-US" baseline="0" dirty="0" err="1" smtClean="0"/>
              <a:t>Southmedic</a:t>
            </a:r>
            <a:r>
              <a:rPr lang="en-US" baseline="0" dirty="0" smtClean="0"/>
              <a:t>) require minimum of 5 </a:t>
            </a:r>
            <a:r>
              <a:rPr lang="en-US" baseline="0" dirty="0" err="1" smtClean="0"/>
              <a:t>lpm</a:t>
            </a:r>
            <a:endParaRPr lang="en-US" dirty="0" smtClean="0"/>
          </a:p>
          <a:p>
            <a:r>
              <a:rPr lang="en-US" dirty="0" err="1" smtClean="0"/>
              <a:t>Ventur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aks</a:t>
            </a:r>
            <a:endParaRPr lang="en-US" baseline="0" dirty="0" smtClean="0"/>
          </a:p>
          <a:p>
            <a:r>
              <a:rPr lang="en-US" baseline="0" dirty="0" smtClean="0"/>
              <a:t>     -Two styles:  dialed &amp; individual nozzles</a:t>
            </a:r>
          </a:p>
          <a:p>
            <a:r>
              <a:rPr lang="en-US" baseline="0" dirty="0" smtClean="0"/>
              <a:t>     -Nozzles vary by color (differing FiO2 delivered)</a:t>
            </a:r>
          </a:p>
          <a:p>
            <a:r>
              <a:rPr lang="en-US" baseline="0" dirty="0" smtClean="0"/>
              <a:t>     -Room air entrained with O2 per the settings selected</a:t>
            </a:r>
          </a:p>
          <a:p>
            <a:endParaRPr lang="en-US" baseline="0" dirty="0" smtClean="0"/>
          </a:p>
          <a:p>
            <a:r>
              <a:rPr lang="en-US" baseline="0" dirty="0" smtClean="0"/>
              <a:t>3-in-1 masks can be used as a medium concentration (simple mask) &amp; high concentration (non-rebreather or partial rebreather) mas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3852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>
                <a:solidFill>
                  <a:prstClr val="black"/>
                </a:solidFill>
              </a:rPr>
              <a:pPr/>
              <a:t>3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86777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>
                <a:solidFill>
                  <a:prstClr val="black"/>
                </a:solidFill>
              </a:rPr>
              <a:pPr/>
              <a:t>3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60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2 monitor on left is a LifeSense by </a:t>
            </a:r>
            <a:r>
              <a:rPr lang="en-US" dirty="0" err="1" smtClean="0"/>
              <a:t>Nonin</a:t>
            </a:r>
            <a:r>
              <a:rPr lang="en-US" dirty="0" smtClean="0"/>
              <a:t> ~$2,500</a:t>
            </a:r>
          </a:p>
          <a:p>
            <a:r>
              <a:rPr lang="en-US" dirty="0" smtClean="0"/>
              <a:t>CO2 monitor on the right is a </a:t>
            </a:r>
            <a:r>
              <a:rPr lang="en-US" dirty="0" err="1" smtClean="0"/>
              <a:t>CapnoCheck</a:t>
            </a:r>
            <a:r>
              <a:rPr lang="en-US" dirty="0" smtClean="0"/>
              <a:t> Plus by BCI ~$3,400</a:t>
            </a:r>
          </a:p>
          <a:p>
            <a:endParaRPr lang="en-US" dirty="0" smtClean="0"/>
          </a:p>
          <a:p>
            <a:r>
              <a:rPr lang="en-US" dirty="0" smtClean="0"/>
              <a:t>Normal value</a:t>
            </a:r>
            <a:r>
              <a:rPr lang="en-US" baseline="0" dirty="0" smtClean="0"/>
              <a:t> of CO2 in your body is 35 to 45 mmHg which is equal to 4.7% to 6.0% CO2. Normal ETCO2 readings are 30-43mmHg, 4.0 to 5.7kPa, 4.0 – 5.6%</a:t>
            </a:r>
          </a:p>
          <a:p>
            <a:endParaRPr lang="en-US" baseline="0" dirty="0" smtClean="0"/>
          </a:p>
          <a:p>
            <a:r>
              <a:rPr lang="en-US" baseline="0" dirty="0" err="1" smtClean="0"/>
              <a:t>mmHG</a:t>
            </a:r>
            <a:r>
              <a:rPr lang="en-US" baseline="0" dirty="0" smtClean="0"/>
              <a:t> = millimeter of mercury (measurement of pressure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>
                <a:solidFill>
                  <a:prstClr val="black"/>
                </a:solidFill>
              </a:rPr>
              <a:pPr/>
              <a:t>3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3681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>
                <a:solidFill>
                  <a:prstClr val="black"/>
                </a:solidFill>
              </a:rPr>
              <a:pPr/>
              <a:t>3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526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48032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9781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11132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>
                <a:solidFill>
                  <a:prstClr val="black"/>
                </a:solidFill>
              </a:rPr>
              <a:pPr/>
              <a:t>3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1677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>
                <a:solidFill>
                  <a:prstClr val="black"/>
                </a:solidFill>
              </a:rPr>
              <a:pPr/>
              <a:t>3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693172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99257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12543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637F65-26D2-4DA4-AA83-CC1519A2F79C}" type="slidenum">
              <a:rPr lang="en-US" smtClean="0">
                <a:solidFill>
                  <a:prstClr val="black"/>
                </a:solidFill>
              </a:rPr>
              <a:pPr/>
              <a:t>4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25347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285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29684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465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57066" indent="-291179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64717" indent="-23294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30604" indent="-23294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96491" indent="-23294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62377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028264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94151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960038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2ABB998C-7FD7-4E72-8E56-4198425A4269}" type="slidenum">
              <a:rPr lang="en-US" altLang="en-US" smtClean="0"/>
              <a:pPr eaLnBrk="1" hangingPunct="1"/>
              <a:t>16</a:t>
            </a:fld>
            <a:endParaRPr lang="en-US" altLang="en-US" smtClean="0"/>
          </a:p>
        </p:txBody>
      </p:sp>
      <p:sp>
        <p:nvSpPr>
          <p:cNvPr id="583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83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a-IR" altLang="en-US" smtClean="0"/>
          </a:p>
        </p:txBody>
      </p:sp>
    </p:spTree>
    <p:extLst>
      <p:ext uri="{BB962C8B-B14F-4D97-AF65-F5344CB8AC3E}">
        <p14:creationId xmlns:p14="http://schemas.microsoft.com/office/powerpoint/2010/main" val="28856415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1824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939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a-IR" altLang="en-US" smtClean="0"/>
          </a:p>
        </p:txBody>
      </p:sp>
      <p:sp>
        <p:nvSpPr>
          <p:cNvPr id="593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57066" indent="-291179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64717" indent="-23294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30604" indent="-23294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96491" indent="-23294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62377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028264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94151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960038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24E5766F-4451-4740-84A9-4E583F913897}" type="slidenum">
              <a:rPr lang="en-US" altLang="en-US" smtClean="0"/>
              <a:pPr eaLnBrk="1" hangingPunct="1"/>
              <a:t>18</a:t>
            </a:fld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2341737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57066" indent="-291179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64717" indent="-23294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30604" indent="-23294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96491" indent="-23294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62377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028264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94151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960038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840EB9AD-53FD-4018-817C-23618B0A4C06}" type="slidenum">
              <a:rPr lang="en-US" altLang="en-US" smtClean="0"/>
              <a:pPr eaLnBrk="1" hangingPunct="1"/>
              <a:t>19</a:t>
            </a:fld>
            <a:endParaRPr lang="en-US" altLang="en-US" smtClean="0"/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a-IR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052853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1221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VYM_whisp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394"/>
          <a:stretch/>
        </p:blipFill>
        <p:spPr>
          <a:xfrm>
            <a:off x="0" y="7870"/>
            <a:ext cx="9144000" cy="4293503"/>
          </a:xfrm>
          <a:prstGeom prst="rect">
            <a:avLst/>
          </a:prstGeom>
        </p:spPr>
      </p:pic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57200" y="4301373"/>
            <a:ext cx="6727450" cy="5246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>
                <a:solidFill>
                  <a:srgbClr val="6FB7D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 descr="VYM_KO_logo-05.eps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24" t="27449" r="14473" b="21733"/>
          <a:stretch/>
        </p:blipFill>
        <p:spPr>
          <a:xfrm>
            <a:off x="4648343" y="1339573"/>
            <a:ext cx="4112276" cy="13985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199" y="4775201"/>
            <a:ext cx="8239125" cy="43688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697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1326641" y="6433443"/>
            <a:ext cx="2420212" cy="29295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2085" y="6068319"/>
            <a:ext cx="5948585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35181" y="6447338"/>
            <a:ext cx="648733" cy="279063"/>
          </a:xfrm>
          <a:prstGeom prst="rect">
            <a:avLst/>
          </a:prstGeom>
        </p:spPr>
        <p:txBody>
          <a:bodyPr/>
          <a:lstStyle/>
          <a:p>
            <a:fld id="{5ABBDE47-A11E-FE42-85BD-DB007C88386C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1" name="Picture 10" descr="Vyaire-Wave_Final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97" t="46246" r="18599" b="31208"/>
          <a:stretch/>
        </p:blipFill>
        <p:spPr>
          <a:xfrm>
            <a:off x="6866272" y="6133810"/>
            <a:ext cx="2004401" cy="57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39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75770" y="6475846"/>
            <a:ext cx="7744889" cy="273844"/>
          </a:xfrm>
        </p:spPr>
        <p:txBody>
          <a:bodyPr/>
          <a:lstStyle>
            <a:lvl1pPr algn="r">
              <a:defRPr/>
            </a:lvl1pPr>
          </a:lstStyle>
          <a:p>
            <a:endParaRPr lang="en-US" dirty="0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35180" y="6500956"/>
            <a:ext cx="648733" cy="209297"/>
          </a:xfrm>
        </p:spPr>
        <p:txBody>
          <a:bodyPr/>
          <a:lstStyle/>
          <a:p>
            <a:fld id="{5ABBDE47-A11E-FE42-85BD-DB007C88386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 descr="Vyaire-Wave_Final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97" t="46246" r="18599" b="31208"/>
          <a:stretch/>
        </p:blipFill>
        <p:spPr>
          <a:xfrm>
            <a:off x="7507909" y="368053"/>
            <a:ext cx="1408425" cy="402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985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72B1D4"/>
              </a:buClr>
              <a:tabLst/>
              <a:defRPr/>
            </a:lvl1pPr>
            <a:lvl2pPr>
              <a:buClr>
                <a:srgbClr val="72B1D4"/>
              </a:buClr>
              <a:defRPr/>
            </a:lvl2pPr>
            <a:lvl3pPr>
              <a:buClr>
                <a:srgbClr val="72B1D4"/>
              </a:buClr>
              <a:defRPr/>
            </a:lvl3pPr>
            <a:lvl4pPr>
              <a:buClr>
                <a:srgbClr val="72B1D4"/>
              </a:buClr>
              <a:defRPr/>
            </a:lvl4pPr>
            <a:lvl5pPr>
              <a:buClr>
                <a:srgbClr val="72B1D4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359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buClr>
                <a:srgbClr val="72B1D4"/>
              </a:buClr>
              <a:defRPr sz="2000"/>
            </a:lvl1pPr>
            <a:lvl2pPr>
              <a:buClr>
                <a:srgbClr val="72B1D4"/>
              </a:buClr>
              <a:defRPr sz="1800"/>
            </a:lvl2pPr>
            <a:lvl3pPr>
              <a:buClr>
                <a:srgbClr val="72B1D4"/>
              </a:buClr>
              <a:defRPr sz="1800"/>
            </a:lvl3pPr>
            <a:lvl4pPr>
              <a:buClr>
                <a:srgbClr val="72B1D4"/>
              </a:buClr>
              <a:defRPr sz="1600"/>
            </a:lvl4pPr>
            <a:lvl5pPr>
              <a:buClr>
                <a:srgbClr val="72B1D4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3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buClr>
                <a:srgbClr val="72B1D4"/>
              </a:buClr>
              <a:defRPr sz="2000"/>
            </a:lvl1pPr>
            <a:lvl2pPr>
              <a:buClr>
                <a:srgbClr val="72B1D4"/>
              </a:buClr>
              <a:defRPr sz="1800"/>
            </a:lvl2pPr>
            <a:lvl3pPr>
              <a:buClr>
                <a:srgbClr val="72B1D4"/>
              </a:buClr>
              <a:defRPr sz="1800"/>
            </a:lvl3pPr>
            <a:lvl4pPr>
              <a:buClr>
                <a:srgbClr val="72B1D4"/>
              </a:buClr>
              <a:defRPr sz="1600"/>
            </a:lvl4pPr>
            <a:lvl5pPr>
              <a:buClr>
                <a:srgbClr val="72B1D4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7643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017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46770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21F84D-05C6-4DDC-9534-40DE2A2DC4D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27536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BE3D72-2B1C-4069-9336-89FA2101D13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1823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1326641" y="6433443"/>
            <a:ext cx="2420212" cy="29295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2084" y="6068319"/>
            <a:ext cx="8704955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35181" y="6447338"/>
            <a:ext cx="648733" cy="279063"/>
          </a:xfrm>
          <a:prstGeom prst="rect">
            <a:avLst/>
          </a:prstGeom>
        </p:spPr>
        <p:txBody>
          <a:bodyPr/>
          <a:lstStyle/>
          <a:p>
            <a:fld id="{5ABBDE47-A11E-FE42-85BD-DB007C88386C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8" descr="Vyaire-Wave_Final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27" b="20111"/>
          <a:stretch/>
        </p:blipFill>
        <p:spPr>
          <a:xfrm>
            <a:off x="-240570" y="1962034"/>
            <a:ext cx="6884468" cy="2982386"/>
          </a:xfrm>
          <a:prstGeom prst="rect">
            <a:avLst/>
          </a:prstGeom>
        </p:spPr>
      </p:pic>
      <p:pic>
        <p:nvPicPr>
          <p:cNvPr id="13" name="Picture 12" descr="Supporting Life_Alone.ai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5" t="19302" r="53440" b="33665"/>
          <a:stretch/>
        </p:blipFill>
        <p:spPr>
          <a:xfrm>
            <a:off x="5357511" y="3299806"/>
            <a:ext cx="3065129" cy="739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272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49553"/>
            <a:ext cx="5723467" cy="1143000"/>
          </a:xfrm>
          <a:prstGeom prst="rect">
            <a:avLst/>
          </a:prstGeom>
        </p:spPr>
        <p:txBody>
          <a:bodyPr anchor="ctr" anchorCtr="0"/>
          <a:lstStyle>
            <a:lvl1pPr algn="l">
              <a:defRPr sz="2800" b="0">
                <a:solidFill>
                  <a:srgbClr val="173075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37488"/>
            <a:ext cx="8229600" cy="4009477"/>
          </a:xfrm>
          <a:prstGeom prst="rect">
            <a:avLst/>
          </a:prstGeom>
        </p:spPr>
        <p:txBody>
          <a:bodyPr/>
          <a:lstStyle>
            <a:lvl1pPr>
              <a:buClr>
                <a:srgbClr val="72B1D4"/>
              </a:buClr>
              <a:defRPr sz="2800">
                <a:solidFill>
                  <a:schemeClr val="bg1">
                    <a:lumMod val="50000"/>
                  </a:schemeClr>
                </a:solidFill>
              </a:defRPr>
            </a:lvl1pPr>
            <a:lvl2pPr>
              <a:buClr>
                <a:srgbClr val="72B1D4"/>
              </a:buClr>
              <a:defRPr sz="2400">
                <a:solidFill>
                  <a:schemeClr val="bg1">
                    <a:lumMod val="50000"/>
                  </a:schemeClr>
                </a:solidFill>
              </a:defRPr>
            </a:lvl2pPr>
            <a:lvl3pPr>
              <a:buClr>
                <a:srgbClr val="72B1D4"/>
              </a:buClr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>
              <a:buClr>
                <a:srgbClr val="72B1D4"/>
              </a:buClr>
              <a:defRPr>
                <a:solidFill>
                  <a:schemeClr val="bg1">
                    <a:lumMod val="50000"/>
                  </a:schemeClr>
                </a:solidFill>
              </a:defRPr>
            </a:lvl4pPr>
            <a:lvl5pPr>
              <a:buClr>
                <a:srgbClr val="72B1D4"/>
              </a:buClr>
              <a:defRPr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1326641" y="6433443"/>
            <a:ext cx="2420212" cy="29295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2085" y="6068319"/>
            <a:ext cx="5948585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35181" y="6447338"/>
            <a:ext cx="648733" cy="279063"/>
          </a:xfrm>
          <a:prstGeom prst="rect">
            <a:avLst/>
          </a:prstGeom>
        </p:spPr>
        <p:txBody>
          <a:bodyPr/>
          <a:lstStyle/>
          <a:p>
            <a:fld id="{5ABBDE47-A11E-FE42-85BD-DB007C88386C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1" name="Picture 10" descr="Vyaire-Wave_Final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97" t="46246" r="18599" b="31208"/>
          <a:stretch/>
        </p:blipFill>
        <p:spPr>
          <a:xfrm>
            <a:off x="6866272" y="6133810"/>
            <a:ext cx="2004401" cy="57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084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VYM_whisp.png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34" t="36780" r="45463" b="44314"/>
          <a:stretch/>
        </p:blipFill>
        <p:spPr>
          <a:xfrm>
            <a:off x="0" y="5794581"/>
            <a:ext cx="9144000" cy="496024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4" y="6007448"/>
            <a:ext cx="9143999" cy="850552"/>
          </a:xfrm>
          <a:prstGeom prst="rect">
            <a:avLst/>
          </a:prstGeom>
          <a:solidFill>
            <a:srgbClr val="1120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672745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6727450" cy="39057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26641" y="6447555"/>
            <a:ext cx="2420212" cy="2929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2082" y="6082428"/>
            <a:ext cx="566174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5181" y="6461449"/>
            <a:ext cx="648733" cy="2790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E7A50C51-39D1-4540-97F5-99C459F216A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 descr="VYM_KO_logo-05.eps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06" t="24391" r="16139" b="21621"/>
          <a:stretch/>
        </p:blipFill>
        <p:spPr>
          <a:xfrm>
            <a:off x="6807894" y="6081064"/>
            <a:ext cx="2229192" cy="809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970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4" r:id="rId4"/>
    <p:sldLayoutId id="2147483655" r:id="rId5"/>
    <p:sldLayoutId id="2147483665" r:id="rId6"/>
    <p:sldLayoutId id="2147483666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i="0" kern="1200">
          <a:solidFill>
            <a:srgbClr val="173075"/>
          </a:solidFill>
          <a:latin typeface="Arial"/>
          <a:ea typeface="+mj-ea"/>
          <a:cs typeface="Arial"/>
        </a:defRPr>
      </a:lvl1pPr>
    </p:titleStyle>
    <p:bodyStyle>
      <a:lvl1pPr marL="347472" indent="-347472" algn="l" defTabSz="457200" rtl="0" eaLnBrk="1" latinLnBrk="0" hangingPunct="1">
        <a:spcBef>
          <a:spcPct val="20000"/>
        </a:spcBef>
        <a:buClr>
          <a:srgbClr val="72B1D4"/>
        </a:buClr>
        <a:buFont typeface="Arial"/>
        <a:buChar char="•"/>
        <a:defRPr sz="2400" b="0" i="0" kern="120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72B1D4"/>
        </a:buClr>
        <a:buFont typeface="Arial"/>
        <a:buChar char="–"/>
        <a:defRPr sz="2000" b="0" i="0" kern="120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Clr>
          <a:srgbClr val="72B1D4"/>
        </a:buClr>
        <a:buFont typeface="Arial"/>
        <a:buChar char="•"/>
        <a:defRPr sz="2000" b="0" i="0" kern="120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Clr>
          <a:srgbClr val="72B1D4"/>
        </a:buClr>
        <a:buFont typeface="Arial"/>
        <a:buChar char="–"/>
        <a:defRPr sz="2000" b="0" i="0" kern="120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Clr>
          <a:srgbClr val="72B1D4"/>
        </a:buClr>
        <a:buFont typeface="Arial"/>
        <a:buChar char="»"/>
        <a:defRPr sz="2000" b="0" i="0" kern="120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326641" y="6433443"/>
            <a:ext cx="2420212" cy="292956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2082" y="6068319"/>
            <a:ext cx="868614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72B1D4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5181" y="6447338"/>
            <a:ext cx="648733" cy="279063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7F7F7F"/>
                </a:solidFill>
              </a:defRPr>
            </a:lvl1pPr>
          </a:lstStyle>
          <a:p>
            <a:fld id="{5ABBDE47-A11E-FE42-85BD-DB007C88386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669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6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3.jpeg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4.jpe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m/imgres?q=capnography&amp;start=99&amp;hl=en&amp;biw=1920&amp;bih=998&amp;addh=36&amp;tbm=isch&amp;tbnid=pQOAlIXIJH2FIM:&amp;imgrefurl=http://www.wikicover.com/Capnography&amp;docid=v0tpr712G31x7M&amp;imgurl=http://www.wikicover.com/images/thumb/336px-Capnograph.jpg&amp;w=336&amp;h=252&amp;ei=O8z1T4aBCYi56wHxjoHnBg&amp;zoom=1&amp;iact=hc&amp;vpx=190&amp;vpy=78&amp;dur=59&amp;hovh=194&amp;hovw=259&amp;tx=143&amp;ty=91&amp;sig=116071695687941356245&amp;page=3&amp;tbnh=148&amp;tbnw=197&amp;ndsp=59&amp;ved=1t:429,r:0,s:99,i:6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javascript:self.close();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10" Type="http://schemas.openxmlformats.org/officeDocument/2006/relationships/image" Target="../media/image20.jpeg"/><Relationship Id="rId4" Type="http://schemas.openxmlformats.org/officeDocument/2006/relationships/image" Target="../media/image14.jpeg"/><Relationship Id="rId9" Type="http://schemas.openxmlformats.org/officeDocument/2006/relationships/image" Target="../media/image1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3732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14"/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644" y="4382362"/>
            <a:ext cx="1501200" cy="2231191"/>
          </a:xfrm>
          <a:prstGeom prst="rect">
            <a:avLst/>
          </a:prstGeom>
        </p:spPr>
      </p:pic>
      <p:pic>
        <p:nvPicPr>
          <p:cNvPr id="5" name="Picture Placeholder 15"/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5055" y="4382362"/>
            <a:ext cx="1502474" cy="2232000"/>
          </a:xfrm>
          <a:prstGeom prst="rect">
            <a:avLst/>
          </a:prstGeom>
        </p:spPr>
      </p:pic>
      <p:pic>
        <p:nvPicPr>
          <p:cNvPr id="6" name="Picture Placeholder 16"/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00" r="28200"/>
          <a:stretch>
            <a:fillRect/>
          </a:stretch>
        </p:blipFill>
        <p:spPr>
          <a:xfrm>
            <a:off x="3768740" y="4382362"/>
            <a:ext cx="1501200" cy="2232000"/>
          </a:xfrm>
          <a:prstGeom prst="rect">
            <a:avLst/>
          </a:prstGeom>
        </p:spPr>
      </p:pic>
      <p:pic>
        <p:nvPicPr>
          <p:cNvPr id="8" name="Picture 2"/>
          <p:cNvPicPr>
            <a:picLocks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13" t="26941" r="40712" b="4088"/>
          <a:stretch/>
        </p:blipFill>
        <p:spPr bwMode="auto">
          <a:xfrm>
            <a:off x="6934838" y="4382362"/>
            <a:ext cx="1501200" cy="22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 txBox="1">
            <a:spLocks/>
          </p:cNvSpPr>
          <p:nvPr/>
        </p:nvSpPr>
        <p:spPr>
          <a:xfrm>
            <a:off x="508846" y="3789040"/>
            <a:ext cx="6727450" cy="5246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rgbClr val="6FB7D7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mtClean="0">
                <a:solidFill>
                  <a:schemeClr val="bg1"/>
                </a:solidFill>
              </a:rPr>
              <a:t>Oxygen Therap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02644" y="4382362"/>
            <a:ext cx="1501200" cy="2232000"/>
          </a:xfrm>
          <a:prstGeom prst="rect">
            <a:avLst/>
          </a:prstGeom>
          <a:solidFill>
            <a:srgbClr val="D9D9D9">
              <a:alpha val="69804"/>
            </a:srgb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/>
        </p:nvSpPr>
        <p:spPr>
          <a:xfrm>
            <a:off x="3768740" y="4382362"/>
            <a:ext cx="1501200" cy="2232000"/>
          </a:xfrm>
          <a:prstGeom prst="rect">
            <a:avLst/>
          </a:prstGeom>
          <a:solidFill>
            <a:srgbClr val="D9D9D9">
              <a:alpha val="69804"/>
            </a:srgb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/>
        </p:nvSpPr>
        <p:spPr>
          <a:xfrm>
            <a:off x="6934838" y="4382362"/>
            <a:ext cx="1501200" cy="2232000"/>
          </a:xfrm>
          <a:prstGeom prst="rect">
            <a:avLst/>
          </a:prstGeom>
          <a:solidFill>
            <a:srgbClr val="D9D9D9">
              <a:alpha val="69804"/>
            </a:srgb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37" r="684"/>
          <a:stretch/>
        </p:blipFill>
        <p:spPr bwMode="auto">
          <a:xfrm>
            <a:off x="5346510" y="4382362"/>
            <a:ext cx="1502474" cy="223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5347784" y="4382362"/>
            <a:ext cx="1501200" cy="2232000"/>
          </a:xfrm>
          <a:prstGeom prst="rect">
            <a:avLst/>
          </a:prstGeom>
          <a:solidFill>
            <a:srgbClr val="D9D9D9">
              <a:alpha val="69804"/>
            </a:srgb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1146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7993464" cy="1143000"/>
          </a:xfrm>
        </p:spPr>
        <p:txBody>
          <a:bodyPr/>
          <a:lstStyle/>
          <a:p>
            <a:r>
              <a:rPr lang="en-GB" dirty="0" smtClean="0"/>
              <a:t>Soft Cushion Nasal Cannula Portfolio Expansion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10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45697" y="2533341"/>
            <a:ext cx="3483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vailable From January 17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702906" y="1276961"/>
            <a:ext cx="2918580" cy="1345659"/>
          </a:xfrm>
          <a:prstGeom prst="rect">
            <a:avLst/>
          </a:prstGeom>
          <a:solidFill>
            <a:srgbClr val="10D2FF"/>
          </a:solidFill>
          <a:ln>
            <a:solidFill>
              <a:srgbClr val="10D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 smtClean="0"/>
              <a:t>Take Aw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Full Range of Siz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U-connect in 2.1m / 4.2M (Adul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Moving to DEHP Fre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15 Languages</a:t>
            </a:r>
            <a:endParaRPr lang="en-GB" sz="1400" dirty="0"/>
          </a:p>
        </p:txBody>
      </p:sp>
      <p:sp>
        <p:nvSpPr>
          <p:cNvPr id="7" name="TextBox 6"/>
          <p:cNvSpPr txBox="1"/>
          <p:nvPr/>
        </p:nvSpPr>
        <p:spPr>
          <a:xfrm>
            <a:off x="545697" y="1394566"/>
            <a:ext cx="4518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ot on the market now – All New for Vyaire!!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4991992"/>
              </p:ext>
            </p:extLst>
          </p:nvPr>
        </p:nvGraphicFramePr>
        <p:xfrm>
          <a:off x="545698" y="3052921"/>
          <a:ext cx="7312114" cy="2286000"/>
        </p:xfrm>
        <a:graphic>
          <a:graphicData uri="http://schemas.openxmlformats.org/drawingml/2006/table">
            <a:tbl>
              <a:tblPr/>
              <a:tblGrid>
                <a:gridCol w="670468"/>
                <a:gridCol w="5076764"/>
                <a:gridCol w="1564882"/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KU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ct descript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 Languages</a:t>
                      </a:r>
                      <a:endParaRPr lang="en-GB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FT26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onate Soft Nasal Cannula, 2.1 m (7') Crush resistant Oxygen Tub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FT260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fant Soft Nasal Cannula, 2.1 m (7') Crush Resistant Oxygen Tub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FT260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diatric</a:t>
                      </a: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oft Nasal Cannula, 2.1 m (7') Crush Resistant Oxygen Tub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FT269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diatric Soft Nasal Cannula, 2.1 m (7')with U-connect tub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FT26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Soft Nasal Cannula, 2.1 m (7') Crush Resistant Oxygen Tub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FT260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Soft Nasal Cannula, 2.1 m (7') No tub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FT260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Soft Nasal Cannula, 1.2 m (4') Crush Resistant Oxygen Tub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FT269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Soft Nasal Cannula, 2.1 m (7') U-connect Crush Resistant Oxygen Tub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FT26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Soft Nasal Cannula, 4.2 m (14') Crush Resistant Oxygen Tub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FT2614U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Soft Nasal Cannula, 4.2 m (14') U-connect Crush Resistant Oxygen Tub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FT26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Soft Nasal Cannula, 7.6 m (25') Crush Resistant Oxygen Tub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42803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076325"/>
            <a:ext cx="8229600" cy="4525963"/>
          </a:xfrm>
          <a:prstGeom prst="rect">
            <a:avLst/>
          </a:prstGeom>
        </p:spPr>
        <p:txBody>
          <a:bodyPr/>
          <a:lstStyle/>
          <a:p>
            <a:pPr marL="287338" indent="-287338">
              <a:spcBef>
                <a:spcPct val="20000"/>
              </a:spcBef>
              <a:defRPr/>
            </a:pPr>
            <a:r>
              <a:rPr lang="en-US" sz="2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s and Benefits</a:t>
            </a: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cannulas as the cushion cannulas (e.g. 002600)</a:t>
            </a: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assembled covers slide smoothly on the headset </a:t>
            </a: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bing</a:t>
            </a: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uld help reduce skin irritation around the ears</a:t>
            </a: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</a:pPr>
            <a:endParaRPr lang="en-US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</a:pPr>
            <a:endParaRPr lang="en-US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38" indent="-287338">
              <a:spcBef>
                <a:spcPct val="20000"/>
              </a:spcBef>
              <a:defRPr/>
            </a:pPr>
            <a:endParaRPr lang="en-US" sz="20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38" indent="-287338">
              <a:spcBef>
                <a:spcPct val="20000"/>
              </a:spcBef>
              <a:defRPr/>
            </a:pPr>
            <a:endParaRPr lang="en-US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08758" y="377550"/>
            <a:ext cx="8378042" cy="698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 fontScale="97500"/>
          </a:bodyPr>
          <a:lstStyle/>
          <a:p>
            <a:pPr>
              <a:spcBef>
                <a:spcPct val="0"/>
              </a:spcBef>
              <a:defRPr/>
            </a:pPr>
            <a:r>
              <a:rPr lang="en-US" sz="28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nulas w/Foam Ear Covers</a:t>
            </a:r>
            <a:endParaRPr lang="en-US" sz="2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cannula_with_cushion.jpg"/>
          <p:cNvPicPr>
            <a:picLocks noChangeAspect="1"/>
          </p:cNvPicPr>
          <p:nvPr/>
        </p:nvPicPr>
        <p:blipFill>
          <a:blip r:embed="rId3" cstate="print"/>
          <a:srcRect l="6575" t="30006" r="4990" b="30368"/>
          <a:stretch>
            <a:fillRect/>
          </a:stretch>
        </p:blipFill>
        <p:spPr>
          <a:xfrm>
            <a:off x="1782036" y="2636473"/>
            <a:ext cx="5219652" cy="3068176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08065" y="6466114"/>
            <a:ext cx="4493623" cy="229235"/>
          </a:xfrm>
        </p:spPr>
        <p:txBody>
          <a:bodyPr/>
          <a:lstStyle/>
          <a:p>
            <a:r>
              <a:rPr lang="en-US" sz="700" dirty="0" smtClean="0">
                <a:solidFill>
                  <a:prstClr val="black"/>
                </a:solidFill>
              </a:rPr>
              <a:t>© 2013 CareFusion Corporation or one of its subsidiaries. All rights reserved.</a:t>
            </a:r>
          </a:p>
        </p:txBody>
      </p:sp>
      <p:sp>
        <p:nvSpPr>
          <p:cNvPr id="8" name="Flowchart: Punched Tape 7"/>
          <p:cNvSpPr/>
          <p:nvPr/>
        </p:nvSpPr>
        <p:spPr>
          <a:xfrm>
            <a:off x="6260121" y="271653"/>
            <a:ext cx="2278235" cy="1175310"/>
          </a:xfrm>
          <a:prstGeom prst="flowChartPunchedTape">
            <a:avLst/>
          </a:prstGeom>
          <a:solidFill>
            <a:srgbClr val="10D2FF"/>
          </a:solidFill>
          <a:ln>
            <a:solidFill>
              <a:srgbClr val="10D2F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 smtClean="0">
                <a:solidFill>
                  <a:schemeClr val="bg1"/>
                </a:solidFill>
              </a:rPr>
              <a:t>New Range!! </a:t>
            </a:r>
          </a:p>
          <a:p>
            <a:pPr algn="ctr"/>
            <a:r>
              <a:rPr lang="en-GB" dirty="0" smtClean="0">
                <a:solidFill>
                  <a:schemeClr val="bg1"/>
                </a:solidFill>
              </a:rPr>
              <a:t>Available Jan 17</a:t>
            </a:r>
          </a:p>
        </p:txBody>
      </p:sp>
    </p:spTree>
    <p:extLst>
      <p:ext uri="{BB962C8B-B14F-4D97-AF65-F5344CB8AC3E}">
        <p14:creationId xmlns:p14="http://schemas.microsoft.com/office/powerpoint/2010/main" val="2044149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7993464" cy="1143000"/>
          </a:xfrm>
        </p:spPr>
        <p:txBody>
          <a:bodyPr/>
          <a:lstStyle/>
          <a:p>
            <a:r>
              <a:rPr lang="en-GB" dirty="0" smtClean="0"/>
              <a:t>Cushion Nasal Cannula Portfolio Expansion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12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45697" y="2533341"/>
            <a:ext cx="3483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vailable From January 17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5697" y="1394566"/>
            <a:ext cx="4518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ot on the market now – All New for Vyaire!!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8735964"/>
              </p:ext>
            </p:extLst>
          </p:nvPr>
        </p:nvGraphicFramePr>
        <p:xfrm>
          <a:off x="545696" y="3236605"/>
          <a:ext cx="8075788" cy="1905000"/>
        </p:xfrm>
        <a:graphic>
          <a:graphicData uri="http://schemas.openxmlformats.org/drawingml/2006/table">
            <a:tbl>
              <a:tblPr/>
              <a:tblGrid>
                <a:gridCol w="640009"/>
                <a:gridCol w="6219930"/>
                <a:gridCol w="1215849"/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KU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ct descript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 Languages</a:t>
                      </a:r>
                      <a:endParaRPr lang="en-GB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260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diatric Cushion Nasal Cannula with Foam Ear Covers, 2.1 m (7') Crush Resistant Oxygen Tub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269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diatric Cushion Nasal Cannula with Foam Ear Covers, 2.1 m (7')with U-connect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ush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sistant T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bin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260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Cushion Nasal Cannula with Foam Ear Covers, 2.1 m (7') No Tub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260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Cushion Nasal Cannula with Foam Ear Covers, 1.2 m (4') Crush Resistant Oxygen Tub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26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Cushion Nasal Cannula with Foam Ear Covers, 2.1 m (7') Crush Resistant Oxygen Tub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269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Cushion Nasal Cannula with Foam Ear Covers, 2.1 m (7') U-connect Crush Resistant Oxygen Tub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26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Cushion Nasal Cannula with Foam Ear Covers, 4.2 m (14') Crush Resistant Oxygen Tub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26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Cushion Nasal Cannula with Foam Ear Covers, 7.6 m (25') Crush Resistant Oxygen Tub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20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am Ear Covers for nasal cannula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5702906" y="1276961"/>
            <a:ext cx="2918580" cy="1441046"/>
          </a:xfrm>
          <a:prstGeom prst="rect">
            <a:avLst/>
          </a:prstGeom>
          <a:solidFill>
            <a:srgbClr val="10D2FF"/>
          </a:solidFill>
          <a:ln>
            <a:solidFill>
              <a:srgbClr val="10D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 smtClean="0"/>
              <a:t>Take Aw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Full Range of Siz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U-connect in 2.1m </a:t>
            </a:r>
            <a:r>
              <a:rPr lang="en-GB" sz="1400" dirty="0" err="1" smtClean="0"/>
              <a:t>Pead</a:t>
            </a:r>
            <a:r>
              <a:rPr lang="en-GB" sz="1400" dirty="0" smtClean="0"/>
              <a:t> &amp; Adul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Moving to DEHP Fre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15 Languages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3803080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6254"/>
            <a:ext cx="8378042" cy="698775"/>
          </a:xfrm>
        </p:spPr>
        <p:txBody>
          <a:bodyPr>
            <a:noAutofit/>
          </a:bodyPr>
          <a:lstStyle/>
          <a:p>
            <a:r>
              <a:rPr lang="en-US" dirty="0" smtClean="0"/>
              <a:t>Soft Cushion &amp; Foam Cover Cannulas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045029"/>
            <a:ext cx="8229600" cy="3700264"/>
          </a:xfrm>
          <a:prstGeom prst="rect">
            <a:avLst/>
          </a:prstGeom>
        </p:spPr>
        <p:txBody>
          <a:bodyPr/>
          <a:lstStyle/>
          <a:p>
            <a:pPr marL="287338" indent="-287338">
              <a:spcBef>
                <a:spcPct val="20000"/>
              </a:spcBef>
            </a:pPr>
            <a:r>
              <a:rPr lang="en-US" sz="2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Notes:</a:t>
            </a:r>
          </a:p>
          <a:p>
            <a:pPr marL="287338" indent="-287338">
              <a:spcBef>
                <a:spcPct val="20000"/>
              </a:spcBef>
            </a:pPr>
            <a:endParaRPr lang="en-US" sz="2400" b="1" dirty="0" smtClean="0">
              <a:solidFill>
                <a:srgbClr val="3B6E8F"/>
              </a:solidFill>
            </a:endParaRPr>
          </a:p>
          <a:p>
            <a:pPr marL="287338" indent="-287338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des numbering convention:</a:t>
            </a:r>
          </a:p>
          <a:p>
            <a:pPr marL="744538" lvl="1" indent="-287338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FT26xx (replaced 00 with SFT)</a:t>
            </a:r>
          </a:p>
          <a:p>
            <a:pPr marL="744538" lvl="1" indent="-287338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M26xx  (replaced 00 with FM</a:t>
            </a:r>
            <a:r>
              <a:rPr lang="en-US" sz="2000" dirty="0" smtClean="0">
                <a:solidFill>
                  <a:prstClr val="black"/>
                </a:solidFill>
              </a:rPr>
              <a:t>)</a:t>
            </a:r>
          </a:p>
          <a:p>
            <a:pPr>
              <a:spcBef>
                <a:spcPct val="20000"/>
              </a:spcBef>
            </a:pPr>
            <a:endParaRPr lang="en-US" sz="2000" dirty="0" smtClean="0">
              <a:solidFill>
                <a:prstClr val="black"/>
              </a:solidFill>
            </a:endParaRP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</a:pPr>
            <a:endParaRPr lang="en-US" sz="2000" dirty="0" smtClean="0">
              <a:solidFill>
                <a:prstClr val="black"/>
              </a:solidFill>
            </a:endParaRPr>
          </a:p>
          <a:p>
            <a:pPr marL="287338" indent="-287338">
              <a:spcBef>
                <a:spcPct val="20000"/>
              </a:spcBef>
              <a:defRPr/>
            </a:pPr>
            <a:endParaRPr lang="en-US" sz="2000" dirty="0" smtClean="0">
              <a:solidFill>
                <a:prstClr val="black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08065" y="6466114"/>
            <a:ext cx="4493623" cy="229235"/>
          </a:xfrm>
        </p:spPr>
        <p:txBody>
          <a:bodyPr/>
          <a:lstStyle/>
          <a:p>
            <a:r>
              <a:rPr lang="en-US" sz="700" dirty="0" smtClean="0">
                <a:solidFill>
                  <a:prstClr val="black"/>
                </a:solidFill>
              </a:rPr>
              <a:t>© 2013 CareFusion Corporation or one of its subsidiaries. All rights reserved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5353258"/>
              </p:ext>
            </p:extLst>
          </p:nvPr>
        </p:nvGraphicFramePr>
        <p:xfrm>
          <a:off x="547636" y="3695928"/>
          <a:ext cx="5326177" cy="10111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35169"/>
                <a:gridCol w="4091008"/>
              </a:tblGrid>
              <a:tr h="3370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sng" strike="noStrike" dirty="0">
                          <a:effectLst/>
                        </a:rPr>
                        <a:t>Code </a:t>
                      </a:r>
                      <a:r>
                        <a:rPr lang="en-US" sz="1400" b="1" u="sng" strike="noStrike" dirty="0" smtClean="0">
                          <a:effectLst/>
                        </a:rPr>
                        <a:t>  </a:t>
                      </a:r>
                      <a:endParaRPr lang="en-US" sz="1400" b="1" i="0" u="sng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sng" strike="noStrike">
                          <a:effectLst/>
                        </a:rPr>
                        <a:t>Description</a:t>
                      </a:r>
                      <a:endParaRPr lang="en-US" sz="1400" b="1" i="0" u="sng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370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u="none" strike="noStrike">
                          <a:effectLst/>
                        </a:rPr>
                        <a:t>SFT26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effectLst/>
                        </a:rPr>
                        <a:t>CANNULA SOFT ADULT W/7FT TB 50/C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370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u="none" strike="noStrike" dirty="0" smtClean="0">
                          <a:effectLst/>
                        </a:rPr>
                        <a:t>FM260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NNULA W/COVR ADULT W/7FT TB 50/CS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8762391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14-ft U/Connect-it Cannula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387257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 smtClean="0"/>
              <a:t>Cannulas w/ 14-ft tubing and universal connector</a:t>
            </a:r>
          </a:p>
          <a:p>
            <a:pPr lvl="1"/>
            <a:r>
              <a:rPr lang="en-US" sz="1600" dirty="0" smtClean="0"/>
              <a:t>One for each style:  Standard (001326U), Cushion (002600-14U), Soft Cushion (SFT2614U)</a:t>
            </a:r>
          </a:p>
          <a:p>
            <a:pPr lvl="1"/>
            <a:r>
              <a:rPr lang="en-US" sz="1600" dirty="0" smtClean="0"/>
              <a:t>A </a:t>
            </a:r>
            <a:r>
              <a:rPr lang="en-US" sz="1600" dirty="0"/>
              <a:t>traditional gap for </a:t>
            </a:r>
            <a:r>
              <a:rPr lang="en-US" sz="1600" dirty="0" err="1" smtClean="0"/>
              <a:t>Air</a:t>
            </a:r>
            <a:r>
              <a:rPr lang="en-US" sz="1600" i="1" dirty="0" err="1" smtClean="0"/>
              <a:t>Life</a:t>
            </a:r>
            <a:endParaRPr lang="en-US" sz="1600" dirty="0" smtClean="0"/>
          </a:p>
          <a:p>
            <a:endParaRPr lang="en-US" sz="1800" dirty="0"/>
          </a:p>
          <a:p>
            <a:pPr marL="0" indent="0">
              <a:buNone/>
            </a:pPr>
            <a:r>
              <a:rPr lang="en-US" sz="1800" dirty="0" err="1" smtClean="0"/>
              <a:t>Air</a:t>
            </a:r>
            <a:r>
              <a:rPr lang="en-US" sz="1800" i="1" dirty="0" err="1" smtClean="0"/>
              <a:t>Life</a:t>
            </a:r>
            <a:r>
              <a:rPr lang="en-US" sz="1800" dirty="0" smtClean="0"/>
              <a:t> ETCO2 cannula w/ 7-ft universal connector (2812M-10U)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700" dirty="0" smtClean="0"/>
              <a:t>© 2013 CareFusion Corporation or one of its subsidiaries. All rights reserved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9109" y="3654576"/>
            <a:ext cx="2884715" cy="2075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334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xygen Mask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544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4"/>
          <p:cNvSpPr>
            <a:spLocks noGrp="1" noChangeArrowheads="1"/>
          </p:cNvSpPr>
          <p:nvPr>
            <p:ph type="title"/>
          </p:nvPr>
        </p:nvSpPr>
        <p:spPr>
          <a:xfrm>
            <a:off x="342900" y="285524"/>
            <a:ext cx="6781800" cy="1143000"/>
          </a:xfrm>
        </p:spPr>
        <p:txBody>
          <a:bodyPr anchor="t">
            <a:normAutofit/>
          </a:bodyPr>
          <a:lstStyle/>
          <a:p>
            <a:pPr eaLnBrk="1" hangingPunct="1">
              <a:defRPr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Simple Mask</a:t>
            </a:r>
          </a:p>
        </p:txBody>
      </p:sp>
      <p:sp>
        <p:nvSpPr>
          <p:cNvPr id="13315" name="Rectangle 5"/>
          <p:cNvSpPr>
            <a:spLocks noGrp="1" noChangeArrowheads="1"/>
          </p:cNvSpPr>
          <p:nvPr>
            <p:ph type="body" sz="half" idx="1"/>
          </p:nvPr>
        </p:nvSpPr>
        <p:spPr>
          <a:xfrm>
            <a:off x="582804" y="1600200"/>
            <a:ext cx="5208396" cy="4525963"/>
          </a:xfrm>
        </p:spPr>
        <p:txBody>
          <a:bodyPr>
            <a:normAutofit/>
          </a:bodyPr>
          <a:lstStyle/>
          <a:p>
            <a:pPr eaLnBrk="1" hangingPunct="1">
              <a:lnSpc>
                <a:spcPct val="80000"/>
              </a:lnSpc>
              <a:spcBef>
                <a:spcPts val="1200"/>
              </a:spcBef>
              <a:defRPr/>
            </a:pP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Low to medium concentration of O2</a:t>
            </a:r>
          </a:p>
          <a:p>
            <a:pPr eaLnBrk="1" hangingPunct="1">
              <a:lnSpc>
                <a:spcPct val="80000"/>
              </a:lnSpc>
              <a:spcBef>
                <a:spcPts val="1200"/>
              </a:spcBef>
              <a:defRPr/>
            </a:pP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Client exhales through ports on sides of mask</a:t>
            </a:r>
          </a:p>
          <a:p>
            <a:pPr eaLnBrk="1" hangingPunct="1">
              <a:lnSpc>
                <a:spcPct val="80000"/>
              </a:lnSpc>
              <a:spcBef>
                <a:spcPts val="1200"/>
              </a:spcBef>
              <a:defRPr/>
            </a:pP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Should not be used for controlled O2 levels</a:t>
            </a:r>
          </a:p>
          <a:p>
            <a:pPr eaLnBrk="1" hangingPunct="1">
              <a:lnSpc>
                <a:spcPct val="80000"/>
              </a:lnSpc>
              <a:spcBef>
                <a:spcPts val="1200"/>
              </a:spcBef>
              <a:defRPr/>
            </a:pP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O2 flow rate- 5 to 10L</a:t>
            </a:r>
          </a:p>
          <a:p>
            <a:pPr eaLnBrk="1" hangingPunct="1">
              <a:lnSpc>
                <a:spcPct val="80000"/>
              </a:lnSpc>
              <a:spcBef>
                <a:spcPts val="1200"/>
              </a:spcBef>
              <a:defRPr/>
            </a:pP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Can cause skin breakdown; must remove to eat.</a:t>
            </a:r>
          </a:p>
          <a:p>
            <a:pPr eaLnBrk="1" hangingPunct="1">
              <a:lnSpc>
                <a:spcPct val="80000"/>
              </a:lnSpc>
              <a:defRPr/>
            </a:pPr>
            <a:endParaRPr lang="en-US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hangingPunct="1">
              <a:lnSpc>
                <a:spcPct val="80000"/>
              </a:lnSpc>
              <a:buNone/>
              <a:defRPr/>
            </a:pPr>
            <a:endParaRPr lang="en-US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hangingPunct="1">
              <a:lnSpc>
                <a:spcPct val="80000"/>
              </a:lnSpc>
              <a:buNone/>
              <a:defRPr/>
            </a:pPr>
            <a:r>
              <a:rPr lang="en-US" sz="180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</a:t>
            </a:r>
            <a:r>
              <a:rPr lang="en-US" sz="1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om Air:</a:t>
            </a:r>
          </a:p>
          <a:p>
            <a:pPr eaLnBrk="1" hangingPunct="1">
              <a:lnSpc>
                <a:spcPct val="80000"/>
              </a:lnSpc>
              <a:defRPr/>
            </a:pPr>
            <a:r>
              <a:rPr lang="en-US" sz="1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L O2=FIO2  35%</a:t>
            </a:r>
          </a:p>
          <a:p>
            <a:pPr eaLnBrk="1" hangingPunct="1">
              <a:lnSpc>
                <a:spcPct val="80000"/>
              </a:lnSpc>
              <a:defRPr/>
            </a:pPr>
            <a:r>
              <a:rPr lang="en-US" sz="1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L O2=FiO2  50%</a:t>
            </a:r>
          </a:p>
          <a:p>
            <a:pPr eaLnBrk="1" hangingPunct="1">
              <a:lnSpc>
                <a:spcPct val="80000"/>
              </a:lnSpc>
              <a:defRPr/>
            </a:pPr>
            <a:endParaRPr lang="en-US" sz="18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hangingPunct="1">
              <a:lnSpc>
                <a:spcPct val="80000"/>
              </a:lnSpc>
              <a:buNone/>
              <a:defRPr/>
            </a:pPr>
            <a:endParaRPr lang="en-US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  <a:defRPr/>
            </a:pPr>
            <a:endParaRPr lang="en-US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  <a:defRPr/>
            </a:pPr>
            <a:endParaRPr lang="en-US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172" name="Picture 4" descr="http://herewomentalk.com/wp-content/uploads/2012/07/oxygen_face_mask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39"/>
          <a:stretch/>
        </p:blipFill>
        <p:spPr bwMode="auto">
          <a:xfrm>
            <a:off x="5907445" y="1796845"/>
            <a:ext cx="2889249" cy="286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2183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Air</a:t>
            </a:r>
            <a:r>
              <a:rPr lang="en-US" sz="2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Life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 Oxygen Masks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290181"/>
            <a:ext cx="8229600" cy="4539119"/>
          </a:xfrm>
          <a:prstGeom prst="rect">
            <a:avLst/>
          </a:prstGeom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r</a:t>
            </a:r>
            <a:r>
              <a:rPr lang="en-US" i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Simple” Mask </a:t>
            </a:r>
          </a:p>
          <a:p>
            <a:pPr marL="800100" lvl="1" indent="-34290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um concentration rebreather mask (no valves, no reservoir bag)</a:t>
            </a:r>
          </a:p>
          <a:p>
            <a:pPr marL="800100" lvl="1" indent="-34290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-10 liters per minute*, 35%-50% FiO</a:t>
            </a:r>
            <a:r>
              <a:rPr lang="en-US" baseline="-25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marL="800100" lvl="1" indent="-34290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.g. 001201</a:t>
            </a:r>
          </a:p>
          <a:p>
            <a:pPr marL="342900" indent="-34290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20000"/>
              </a:spcBef>
              <a:defRPr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 descr="001200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155688" y="2708795"/>
            <a:ext cx="3392811" cy="2834640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08065" y="6466114"/>
            <a:ext cx="4493623" cy="229235"/>
          </a:xfrm>
        </p:spPr>
        <p:txBody>
          <a:bodyPr/>
          <a:lstStyle/>
          <a:p>
            <a:r>
              <a:rPr lang="en-US" sz="700" dirty="0" smtClean="0">
                <a:solidFill>
                  <a:prstClr val="black"/>
                </a:solidFill>
              </a:rPr>
              <a:t>© 2015 CareFusion Corporation or one of its subsidiaries. All rights reserved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155688" y="6096782"/>
            <a:ext cx="3503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*AARC Clinical Practice </a:t>
            </a:r>
            <a:r>
              <a:rPr lang="en-US" sz="900" dirty="0" smtClean="0"/>
              <a:t>Guideline; </a:t>
            </a:r>
            <a:r>
              <a:rPr lang="en-US" sz="900" dirty="0" err="1" smtClean="0"/>
              <a:t>Respir</a:t>
            </a:r>
            <a:r>
              <a:rPr lang="en-US" sz="900" dirty="0" smtClean="0"/>
              <a:t> </a:t>
            </a:r>
            <a:r>
              <a:rPr lang="en-US" sz="900" dirty="0"/>
              <a:t>Care 2002; 47(6):717-720)</a:t>
            </a:r>
          </a:p>
        </p:txBody>
      </p:sp>
    </p:spTree>
    <p:extLst>
      <p:ext uri="{BB962C8B-B14F-4D97-AF65-F5344CB8AC3E}">
        <p14:creationId xmlns:p14="http://schemas.microsoft.com/office/powerpoint/2010/main" val="1772404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4"/>
          <p:cNvSpPr>
            <a:spLocks noGrp="1" noChangeArrowheads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pPr eaLnBrk="1" hangingPunct="1"/>
            <a:r>
              <a:rPr lang="en-US" alt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Partial Rebreather Mask</a:t>
            </a:r>
          </a:p>
        </p:txBody>
      </p:sp>
      <p:sp>
        <p:nvSpPr>
          <p:cNvPr id="17411" name="Rectangle 5"/>
          <p:cNvSpPr>
            <a:spLocks noGrp="1" noChangeArrowheads="1"/>
          </p:cNvSpPr>
          <p:nvPr>
            <p:ph type="body" sz="half" idx="1"/>
          </p:nvPr>
        </p:nvSpPr>
        <p:spPr>
          <a:xfrm>
            <a:off x="457200" y="1575079"/>
            <a:ext cx="4262438" cy="4525963"/>
          </a:xfrm>
        </p:spPr>
        <p:txBody>
          <a:bodyPr>
            <a:normAutofit/>
          </a:bodyPr>
          <a:lstStyle/>
          <a:p>
            <a:pPr eaLnBrk="1" hangingPunct="1">
              <a:lnSpc>
                <a:spcPct val="90000"/>
              </a:lnSpc>
            </a:pPr>
            <a:r>
              <a:rPr lang="en-US" alt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Consists of mask with exhalation ports and reservoir bag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Reservoir bag must remain inflated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O2 flow rate -  </a:t>
            </a:r>
            <a:r>
              <a:rPr lang="en-US" altLang="en-US" sz="18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en-US" alt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to 10L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en-US" altLang="en-US" sz="18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altLang="en-US" sz="1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O2= </a:t>
            </a:r>
            <a:r>
              <a:rPr lang="en-US" altLang="en-US" sz="1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altLang="en-US" sz="1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% - 70%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Client can inhale gas from mask, bag, exhalation ports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Poorly fitting; must remove to eat</a:t>
            </a:r>
          </a:p>
          <a:p>
            <a:pPr eaLnBrk="1" hangingPunct="1">
              <a:lnSpc>
                <a:spcPct val="90000"/>
              </a:lnSpc>
            </a:pPr>
            <a:endParaRPr lang="en-US" altLang="en-US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218" name="Picture 2" descr="https://carefusion.widencollective.com/thumbnail/13108a47-64e8-4dbe-9237-e292cab0a393/av/2048px/AL_0315-0076.jpg?t=1471537140472&amp;s=41a865ace8ad07f77a49f5b7c3592f29b788c5a6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30" t="17735" r="9901" b="9247"/>
          <a:stretch/>
        </p:blipFill>
        <p:spPr bwMode="auto">
          <a:xfrm>
            <a:off x="5633883" y="1248696"/>
            <a:ext cx="2733368" cy="4503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0865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4"/>
          <p:cNvSpPr>
            <a:spLocks noGrp="1" noChangeArrowheads="1"/>
          </p:cNvSpPr>
          <p:nvPr>
            <p:ph type="title"/>
          </p:nvPr>
        </p:nvSpPr>
        <p:spPr>
          <a:xfrm>
            <a:off x="454985" y="274068"/>
            <a:ext cx="8534400" cy="1143000"/>
          </a:xfrm>
        </p:spPr>
        <p:txBody>
          <a:bodyPr anchor="t">
            <a:normAutofit/>
          </a:bodyPr>
          <a:lstStyle/>
          <a:p>
            <a:pPr eaLnBrk="1" hangingPunct="1"/>
            <a:r>
              <a:rPr lang="en-US" alt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Non-Rebreathing Mask</a:t>
            </a:r>
          </a:p>
        </p:txBody>
      </p:sp>
      <p:sp>
        <p:nvSpPr>
          <p:cNvPr id="18435" name="Rectangle 5"/>
          <p:cNvSpPr>
            <a:spLocks noGrp="1" noChangeArrowheads="1"/>
          </p:cNvSpPr>
          <p:nvPr>
            <p:ph type="body" sz="half" idx="1"/>
          </p:nvPr>
        </p:nvSpPr>
        <p:spPr>
          <a:xfrm>
            <a:off x="454985" y="1464341"/>
            <a:ext cx="4903596" cy="4525963"/>
          </a:xfrm>
        </p:spPr>
        <p:txBody>
          <a:bodyPr>
            <a:normAutofit/>
          </a:bodyPr>
          <a:lstStyle/>
          <a:p>
            <a:pPr eaLnBrk="1" hangingPunct="1">
              <a:spcBef>
                <a:spcPts val="1200"/>
              </a:spcBef>
            </a:pPr>
            <a:r>
              <a:rPr lang="en-US" alt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onsists of mask, reservoir bag, 2 one-way valves at exhalation ports and bag</a:t>
            </a:r>
          </a:p>
          <a:p>
            <a:pPr eaLnBrk="1" hangingPunct="1">
              <a:spcBef>
                <a:spcPts val="1200"/>
              </a:spcBef>
            </a:pPr>
            <a:r>
              <a:rPr lang="en-US" alt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lient can only inhale from reservoir bag</a:t>
            </a:r>
          </a:p>
          <a:p>
            <a:pPr eaLnBrk="1" hangingPunct="1">
              <a:spcBef>
                <a:spcPts val="1200"/>
              </a:spcBef>
            </a:pPr>
            <a:r>
              <a:rPr lang="en-US" alt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ag must remain inflated at all times</a:t>
            </a:r>
          </a:p>
          <a:p>
            <a:pPr eaLnBrk="1" hangingPunct="1">
              <a:spcBef>
                <a:spcPts val="1200"/>
              </a:spcBef>
            </a:pPr>
            <a:r>
              <a:rPr lang="en-US" alt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2 flow rate- 10 to 15L</a:t>
            </a:r>
          </a:p>
          <a:p>
            <a:pPr eaLnBrk="1" hangingPunct="1">
              <a:spcBef>
                <a:spcPts val="1200"/>
              </a:spcBef>
              <a:buFontTx/>
              <a:buNone/>
            </a:pPr>
            <a:r>
              <a:rPr lang="en-US" altLang="en-US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altLang="en-US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o2= 60 - </a:t>
            </a:r>
            <a:r>
              <a:rPr lang="en-US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en-US" altLang="en-US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%</a:t>
            </a:r>
          </a:p>
          <a:p>
            <a:pPr eaLnBrk="1" hangingPunct="1">
              <a:spcBef>
                <a:spcPts val="1200"/>
              </a:spcBef>
            </a:pPr>
            <a:r>
              <a:rPr lang="en-US" alt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Poorly fitting; must remove to eat </a:t>
            </a:r>
          </a:p>
        </p:txBody>
      </p:sp>
      <p:pic>
        <p:nvPicPr>
          <p:cNvPr id="8194" name="Picture 2" descr="https://carefusion.widencollective.com/thumbnail/b231e2ed-b7fa-4db5-b889-a143c473ae85/av/2048px/AL_0413-0017.jpg?t=1471536653519&amp;s=90336e44808abb04c2a3671450d4f61806467aa9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63" t="6020" r="9074" b="8655"/>
          <a:stretch/>
        </p:blipFill>
        <p:spPr bwMode="auto">
          <a:xfrm>
            <a:off x="5515897" y="1936956"/>
            <a:ext cx="2851356" cy="3205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9733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xygen Cannula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9221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Oxygen Masks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290181"/>
            <a:ext cx="8229600" cy="4539119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600"/>
              </a:spcBef>
              <a:defRPr/>
            </a:pPr>
            <a:r>
              <a:rPr lang="en-US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r</a:t>
            </a:r>
            <a:r>
              <a:rPr lang="en-US" i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tial Rebreather Masks</a:t>
            </a:r>
          </a:p>
          <a:p>
            <a:pPr marL="800100" lvl="1" indent="-342900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ple mask with a reservoir bag</a:t>
            </a:r>
          </a:p>
          <a:p>
            <a:pPr marL="800100" lvl="1" indent="-342900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um or high concentration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10 liters per minute*, 40%-70% FiO</a:t>
            </a:r>
            <a:r>
              <a:rPr lang="en-US" sz="1600" baseline="-25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marL="800100" lvl="1" indent="-342900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.g. 001205</a:t>
            </a:r>
          </a:p>
          <a:p>
            <a:pPr>
              <a:spcBef>
                <a:spcPts val="600"/>
              </a:spcBef>
              <a:defRPr/>
            </a:pP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defRPr/>
            </a:pPr>
            <a:r>
              <a:rPr lang="en-US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r</a:t>
            </a:r>
            <a:r>
              <a:rPr lang="en-US" i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-Rebreather Masks</a:t>
            </a:r>
          </a:p>
          <a:p>
            <a:pPr marL="800100" lvl="1" indent="-342900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des reservoir bag and one-way valves</a:t>
            </a:r>
          </a:p>
          <a:p>
            <a:pPr marL="800100" lvl="1" indent="-342900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concentration</a:t>
            </a:r>
          </a:p>
          <a:p>
            <a:pPr marL="800100" lvl="1" indent="-342900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mum flow of 10 liters per minute*, 60%-80% FiO</a:t>
            </a:r>
            <a:r>
              <a:rPr lang="en-US" sz="1600" baseline="-25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marL="800100" lvl="1" indent="-342900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.g. 001203 – “3-in-1” mask</a:t>
            </a:r>
            <a:endParaRPr lang="en-US" sz="1600" baseline="-25000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ct val="20000"/>
              </a:spcBef>
              <a:defRPr/>
            </a:pPr>
            <a:endParaRPr lang="en-US" baseline="-25000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20000"/>
              </a:spcBef>
              <a:defRPr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014049" y="5598468"/>
            <a:ext cx="498763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AARC Clinical Practice </a:t>
            </a:r>
            <a:r>
              <a:rPr lang="en-US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line; </a:t>
            </a:r>
            <a:r>
              <a:rPr lang="en-US" sz="9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ir</a:t>
            </a:r>
            <a:r>
              <a:rPr lang="en-US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e 2002; 47(6):717-720)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900" y="1489254"/>
            <a:ext cx="2438259" cy="19673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75468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/>
        <p:txBody>
          <a:bodyPr anchor="ctr"/>
          <a:lstStyle/>
          <a:p>
            <a:pPr eaLnBrk="1" hangingPunct="1"/>
            <a:r>
              <a:rPr lang="en-US" alt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Tracheostomy Collar/Mask</a:t>
            </a:r>
          </a:p>
        </p:txBody>
      </p:sp>
      <p:sp>
        <p:nvSpPr>
          <p:cNvPr id="20483" name="Rectangle 7"/>
          <p:cNvSpPr>
            <a:spLocks noGrp="1" noChangeArrowheads="1"/>
          </p:cNvSpPr>
          <p:nvPr>
            <p:ph type="body" sz="half" idx="1"/>
          </p:nvPr>
        </p:nvSpPr>
        <p:spPr>
          <a:xfrm>
            <a:off x="457200" y="1600200"/>
            <a:ext cx="4033838" cy="4525963"/>
          </a:xfrm>
        </p:spPr>
        <p:txBody>
          <a:bodyPr>
            <a:normAutofit/>
          </a:bodyPr>
          <a:lstStyle/>
          <a:p>
            <a:pPr eaLnBrk="1" hangingPunct="1">
              <a:spcBef>
                <a:spcPts val="1200"/>
              </a:spcBef>
            </a:pPr>
            <a:r>
              <a:rPr lang="en-US" alt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O2 flow rate 8 to 10L</a:t>
            </a:r>
          </a:p>
          <a:p>
            <a:pPr eaLnBrk="1" hangingPunct="1">
              <a:spcBef>
                <a:spcPts val="1200"/>
              </a:spcBef>
            </a:pPr>
            <a:r>
              <a:rPr lang="en-US" alt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Provides accurate FIO2</a:t>
            </a:r>
          </a:p>
          <a:p>
            <a:pPr eaLnBrk="1" hangingPunct="1">
              <a:spcBef>
                <a:spcPts val="1200"/>
              </a:spcBef>
            </a:pPr>
            <a:r>
              <a:rPr lang="en-US" alt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Provides good humidity; comfortable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5229" y="1719089"/>
            <a:ext cx="4313894" cy="29860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02918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xygen Mask Portfolio Expansion 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22</a:t>
            </a:fld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4200180"/>
              </p:ext>
            </p:extLst>
          </p:nvPr>
        </p:nvGraphicFramePr>
        <p:xfrm>
          <a:off x="587827" y="1417639"/>
          <a:ext cx="7772401" cy="2935925"/>
        </p:xfrm>
        <a:graphic>
          <a:graphicData uri="http://schemas.openxmlformats.org/drawingml/2006/table">
            <a:tbl>
              <a:tblPr/>
              <a:tblGrid>
                <a:gridCol w="512994"/>
                <a:gridCol w="5400463"/>
                <a:gridCol w="1024931"/>
                <a:gridCol w="834013"/>
              </a:tblGrid>
              <a:tr h="218682"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KU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ct description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 Product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 Languages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682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63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diatric Aerosol Mask, Vinyl, Under-the-Chin Style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682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61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diatric Aerosol Mask, Vinyl, Short Style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682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64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diatric Short Style Oxygen Mask, Vinyl, High concentration rebreather, mask only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682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06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Aerosol Mask, Vinyl, Under-the-Chin Style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682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07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high-concentration Mask, Vinyl, Under-the-Chin Style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682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00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Oxygen Mask Vinyl, Under-the-Chin Style, Medium Concentration Mask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682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02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Oxygen Mask Vinyl, Under-the-Chin Style, 3 in 1 Mask with Safety Vent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682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04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Oxygen Mask Vinyl, Under-the-Chin Style, High Concentration Rebreather Mask (No Valves)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682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20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e Tent Mask Vinyl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682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2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Tracheostomy Mask Vinyl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682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26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diatric Tracheostomy Mask Vinyl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682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27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Tracheostomy Mask (Large)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587827" y="4452240"/>
            <a:ext cx="5169878" cy="1235127"/>
          </a:xfrm>
          <a:prstGeom prst="rect">
            <a:avLst/>
          </a:prstGeom>
          <a:solidFill>
            <a:srgbClr val="10D2FF"/>
          </a:solidFill>
          <a:ln>
            <a:solidFill>
              <a:srgbClr val="10D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600" b="1" dirty="0" smtClean="0"/>
              <a:t>Take Aw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Add High Concentration (with &amp; without valv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Add Adult &amp; </a:t>
            </a:r>
            <a:r>
              <a:rPr lang="en-GB" sz="1400" dirty="0" err="1" smtClean="0"/>
              <a:t>Pead</a:t>
            </a:r>
            <a:r>
              <a:rPr lang="en-GB" sz="1400" dirty="0" smtClean="0"/>
              <a:t> </a:t>
            </a:r>
            <a:r>
              <a:rPr lang="en-GB" sz="1400" dirty="0" err="1" smtClean="0"/>
              <a:t>Trachy</a:t>
            </a:r>
            <a:r>
              <a:rPr lang="en-GB" sz="1400" dirty="0" smtClean="0"/>
              <a:t> Mas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Moving to DEHP Free next ye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15 Languages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474048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7903028" cy="1143000"/>
          </a:xfrm>
        </p:spPr>
        <p:txBody>
          <a:bodyPr anchor="t"/>
          <a:lstStyle/>
          <a:p>
            <a:r>
              <a:rPr lang="en-GB" dirty="0" smtClean="0"/>
              <a:t>Oxygen Mask &amp; Tubing Portfolio Expansion 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23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567731" y="4829002"/>
            <a:ext cx="5169878" cy="938752"/>
          </a:xfrm>
          <a:prstGeom prst="rect">
            <a:avLst/>
          </a:prstGeom>
          <a:solidFill>
            <a:srgbClr val="10D2FF"/>
          </a:solidFill>
          <a:ln>
            <a:solidFill>
              <a:srgbClr val="10D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600" b="1" dirty="0" smtClean="0"/>
              <a:t>Take Aw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More </a:t>
            </a:r>
            <a:r>
              <a:rPr lang="en-GB" sz="1400" dirty="0" err="1" smtClean="0"/>
              <a:t>Pead</a:t>
            </a:r>
            <a:r>
              <a:rPr lang="en-GB" sz="1400" dirty="0" smtClean="0"/>
              <a:t> / Adult / Aerosol / Face tent op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U-connect op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15 Languages</a:t>
            </a:r>
            <a:endParaRPr lang="en-GB" sz="1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7428931"/>
              </p:ext>
            </p:extLst>
          </p:nvPr>
        </p:nvGraphicFramePr>
        <p:xfrm>
          <a:off x="567731" y="1106778"/>
          <a:ext cx="7581481" cy="3568175"/>
        </p:xfrm>
        <a:graphic>
          <a:graphicData uri="http://schemas.openxmlformats.org/drawingml/2006/table">
            <a:tbl>
              <a:tblPr/>
              <a:tblGrid>
                <a:gridCol w="500393"/>
                <a:gridCol w="5410504"/>
                <a:gridCol w="959087"/>
                <a:gridCol w="711497"/>
              </a:tblGrid>
              <a:tr h="180389">
                <a:tc>
                  <a:txBody>
                    <a:bodyPr/>
                    <a:lstStyle/>
                    <a:p>
                      <a:pPr algn="l" fontAlgn="ctr"/>
                      <a:r>
                        <a:rPr lang="en-GB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KU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ct description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 Product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 Languages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38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62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diatric Oxygen Mask Vinyl, Under the Chin Style, Medium Concentration Mask with 2.1m (7')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67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diatric Oxygen Mask Vinyl, Under the Chin Style, High Concentration, Rebreather Mask (No Valves) with 2.1m (7')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38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68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diatric Oxygen Mask Vinyl, Under the Chin Style, 3 in 1 Mask with Safety Vent and 2.1m (7') 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38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69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diatric Under the Chin Style Oxygen Mask, Vinyl, High concentration rebreather, with 2.1m (7')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38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60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diatric Oxygen Mask Vinyl, Short Style, Medium Concentration Mask with 2.1m (7')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38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6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diatric Oxygen Mask Vinyl, Short Style, High Concentration, Rebreather Mask (No Valves) with 2.1m (7')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38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09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Aerosol Mask, Vinyl, Under-the-Chin Style With 1.5m (5') Corrugated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38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08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Aerosol Mask, Vinyl, Under-the-Chin Style With 1.8m (6') Corrugated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38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01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Oxygen Mask Vinyl, Under-the-Chin Style, Medium Concentration Mask with 2.1m (7')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38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361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Oxygen Mask Vinyl, Under-the-Chin Style, Medium Concentration Mask with 2.1m (7') U-connect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38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03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Oxygen Mask Vinyl, Under-the-Chin Style, 3 in 1 Mask with Safety Vent and 2.1m (7')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38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362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Oxygen Mask Vinyl, Under-the-Chin Style, 3 in 1 Mask with Safety Vent and 2.1m (7') U-connect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38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10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Oxygen Mask Vinyl, Under-the-Chin Style, 3 in 1 Mask without Safety Vent, with 2.1m (7')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38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11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, high-concentration, non-rebreather 3-in-1 with safety vent, 2.1m (7') O2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38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12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, high-concentration, non-rebreather 3-in-1, 2.1m (7') O2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4286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0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Oxygen Mask Vinyl, Under-the-Chin Style, High Concentration Rebreather Mask (No Valves) with 2.1m (7')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38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22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e</a:t>
                      </a: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ent Mask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nyl, with 1.5m (5') Corrugated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38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221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Face tent Mask, Vinyl, with 1.8m (6') Corrugated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10144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4"/>
          <p:cNvSpPr>
            <a:spLocks noGrp="1" noChangeArrowheads="1"/>
          </p:cNvSpPr>
          <p:nvPr>
            <p:ph type="title"/>
          </p:nvPr>
        </p:nvSpPr>
        <p:spPr>
          <a:xfrm>
            <a:off x="420214" y="194252"/>
            <a:ext cx="7391400" cy="1143000"/>
          </a:xfrm>
        </p:spPr>
        <p:txBody>
          <a:bodyPr anchor="t">
            <a:normAutofit/>
          </a:bodyPr>
          <a:lstStyle/>
          <a:p>
            <a:pPr eaLnBrk="1" hangingPunct="1">
              <a:defRPr/>
            </a:pPr>
            <a:r>
              <a:rPr lang="en-US" dirty="0" err="1" smtClean="0">
                <a:latin typeface="Arial" panose="020B0604020202020204" pitchFamily="34" charset="0"/>
                <a:cs typeface="Arial" panose="020B0604020202020204" pitchFamily="34" charset="0"/>
              </a:rPr>
              <a:t>Venturi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Mask</a:t>
            </a:r>
          </a:p>
        </p:txBody>
      </p:sp>
      <p:sp>
        <p:nvSpPr>
          <p:cNvPr id="19459" name="Rectangle 5"/>
          <p:cNvSpPr>
            <a:spLocks noGrp="1" noChangeArrowheads="1"/>
          </p:cNvSpPr>
          <p:nvPr>
            <p:ph type="body" sz="half" idx="1"/>
          </p:nvPr>
        </p:nvSpPr>
        <p:spPr>
          <a:xfrm>
            <a:off x="524026" y="1265902"/>
            <a:ext cx="4741147" cy="4525963"/>
          </a:xfrm>
        </p:spPr>
        <p:txBody>
          <a:bodyPr>
            <a:normAutofit/>
          </a:bodyPr>
          <a:lstStyle/>
          <a:p>
            <a:pPr eaLnBrk="1" hangingPunct="1">
              <a:spcBef>
                <a:spcPts val="1200"/>
              </a:spcBef>
            </a:pPr>
            <a:r>
              <a:rPr lang="en-US" alt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ost reliable and accurate method for delivering a precise O2 concentration</a:t>
            </a:r>
          </a:p>
          <a:p>
            <a:pPr eaLnBrk="1" hangingPunct="1">
              <a:spcBef>
                <a:spcPts val="1200"/>
              </a:spcBef>
            </a:pPr>
            <a:r>
              <a:rPr lang="en-US" alt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onsists of a mask with a jet</a:t>
            </a:r>
          </a:p>
          <a:p>
            <a:pPr eaLnBrk="1" hangingPunct="1">
              <a:spcBef>
                <a:spcPts val="1200"/>
              </a:spcBef>
            </a:pPr>
            <a:r>
              <a:rPr lang="en-US" alt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xcess gas leaves by exhalation ports</a:t>
            </a:r>
          </a:p>
          <a:p>
            <a:pPr eaLnBrk="1" hangingPunct="1">
              <a:spcBef>
                <a:spcPts val="1200"/>
              </a:spcBef>
            </a:pPr>
            <a:r>
              <a:rPr lang="en-US" alt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2 flow rate 2 to 15L &amp; Narrowed orifice</a:t>
            </a:r>
          </a:p>
          <a:p>
            <a:pPr eaLnBrk="1" hangingPunct="1">
              <a:spcBef>
                <a:spcPts val="1200"/>
              </a:spcBef>
            </a:pPr>
            <a:r>
              <a:rPr lang="en-US" altLang="en-US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o2, 24%-60%</a:t>
            </a:r>
          </a:p>
          <a:p>
            <a:pPr eaLnBrk="1" hangingPunct="1">
              <a:spcBef>
                <a:spcPts val="1200"/>
              </a:spcBef>
            </a:pPr>
            <a:r>
              <a:rPr lang="en-US" alt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an cause skin breakdown; must remove to eat</a:t>
            </a:r>
          </a:p>
          <a:p>
            <a:pPr eaLnBrk="1" hangingPunct="1">
              <a:spcBef>
                <a:spcPts val="1200"/>
              </a:spcBef>
            </a:pPr>
            <a:endParaRPr lang="en-US" alt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42" name="Picture 2" descr="https://carefusion.widencollective.com/thumbnail/88f2f0a4-a4f5-43f3-96cc-723321fdc6e7/av/2048px/AL_0413-0021.jpg?t=1471537657852&amp;s=061a3c5273a25b2dcc1b8caa83987987dbd9cede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71" t="7652" r="12338" b="6224"/>
          <a:stretch/>
        </p:blipFill>
        <p:spPr bwMode="auto">
          <a:xfrm>
            <a:off x="5624052" y="1219199"/>
            <a:ext cx="2723535" cy="4650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8938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ir</a:t>
            </a:r>
            <a:r>
              <a:rPr lang="en-US" sz="28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ife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Venturi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, Aerosol, Trach Masks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290181"/>
            <a:ext cx="8229600" cy="4539119"/>
          </a:xfrm>
          <a:prstGeom prst="rect">
            <a:avLst/>
          </a:prstGeom>
        </p:spPr>
        <p:txBody>
          <a:bodyPr/>
          <a:lstStyle/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r</a:t>
            </a:r>
            <a:r>
              <a:rPr lang="en-US" sz="1400" i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</a:t>
            </a: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turi</a:t>
            </a: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sks 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rains oxygen with room air to achieve a </a:t>
            </a:r>
            <a:b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cific</a:t>
            </a: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O2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ered in two styles:  diluter jets &amp; dual dial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Lead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”: </a:t>
            </a: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01255</a:t>
            </a:r>
          </a:p>
          <a:p>
            <a:pPr lvl="1">
              <a:spcBef>
                <a:spcPct val="20000"/>
              </a:spcBef>
              <a:defRPr/>
            </a:pPr>
            <a:endParaRPr lang="en-US" sz="1400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r</a:t>
            </a:r>
            <a:r>
              <a:rPr lang="en-US" sz="1400" i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</a:t>
            </a: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erosol Masks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medication delivery with small volume neb, </a:t>
            </a:r>
          </a:p>
          <a:p>
            <a:pPr lvl="1">
              <a:spcBef>
                <a:spcPct val="20000"/>
              </a:spcBef>
              <a:defRPr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aerosol treatment with large volume neb </a:t>
            </a:r>
          </a:p>
          <a:p>
            <a:pPr lvl="1">
              <a:spcBef>
                <a:spcPct val="20000"/>
              </a:spcBef>
              <a:defRPr/>
            </a:pPr>
            <a:endParaRPr lang="en-US" sz="1200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rLife</a:t>
            </a: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ach Masks</a:t>
            </a:r>
          </a:p>
          <a:p>
            <a:pPr marL="800100" lvl="1" indent="-34290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erosol treatment direct to airway</a:t>
            </a:r>
          </a:p>
          <a:p>
            <a:pPr marL="287338" indent="-287338">
              <a:spcBef>
                <a:spcPct val="20000"/>
              </a:spcBef>
              <a:defRPr/>
            </a:pPr>
            <a:endParaRPr lang="en-US" sz="1600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600" noProof="0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600" b="1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001240.jpg"/>
          <p:cNvPicPr>
            <a:picLocks noChangeAspect="1"/>
          </p:cNvPicPr>
          <p:nvPr/>
        </p:nvPicPr>
        <p:blipFill>
          <a:blip r:embed="rId3" cstate="print"/>
          <a:srcRect l="19550" r="20037"/>
          <a:stretch>
            <a:fillRect/>
          </a:stretch>
        </p:blipFill>
        <p:spPr>
          <a:xfrm>
            <a:off x="6924659" y="1367007"/>
            <a:ext cx="1682725" cy="2733620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08065" y="6466114"/>
            <a:ext cx="4493623" cy="229235"/>
          </a:xfrm>
        </p:spPr>
        <p:txBody>
          <a:bodyPr/>
          <a:lstStyle/>
          <a:p>
            <a:r>
              <a:rPr lang="en-US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© 2013 CareFusion Corporation or one of its subsidiaries. All rights reserved.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7830595"/>
              </p:ext>
            </p:extLst>
          </p:nvPr>
        </p:nvGraphicFramePr>
        <p:xfrm>
          <a:off x="1022015" y="4378832"/>
          <a:ext cx="6930820" cy="127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8658"/>
                <a:gridCol w="4058460"/>
                <a:gridCol w="2153702"/>
              </a:tblGrid>
              <a:tr h="25557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sng" strike="noStrike" dirty="0" smtClean="0">
                          <a:effectLst/>
                        </a:rPr>
                        <a:t>Code </a:t>
                      </a:r>
                      <a:endParaRPr lang="en-US" sz="1200" b="1" i="0" u="sng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sng" strike="noStrike" dirty="0">
                          <a:effectLst/>
                        </a:rPr>
                        <a:t>Description</a:t>
                      </a:r>
                      <a:endParaRPr lang="en-US" sz="1200" b="1" i="0" u="sng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sng" strike="noStrike" dirty="0" smtClean="0">
                          <a:effectLst/>
                        </a:rPr>
                        <a:t>US Sales</a:t>
                      </a:r>
                      <a:endParaRPr lang="en-US" sz="1200" b="1" i="0" u="sng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5557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1240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SK AIR ENTRAIN ADULT 50/CS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518K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25557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1255</a:t>
                      </a:r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SK VENTURI DUAL DIAL ADULT 50/CS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404K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25557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1263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SK AEROSOL PED UNDER-CHIN 50/C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260k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25557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1227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SK TRACHEOSTOMY ADULT 50/C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120k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9763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7903028" cy="1143000"/>
          </a:xfrm>
        </p:spPr>
        <p:txBody>
          <a:bodyPr/>
          <a:lstStyle/>
          <a:p>
            <a:r>
              <a:rPr lang="en-GB" dirty="0" smtClean="0"/>
              <a:t>Oxygen Mask &amp; Tubing Portfolio Expansion 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26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567731" y="4829002"/>
            <a:ext cx="5169878" cy="938752"/>
          </a:xfrm>
          <a:prstGeom prst="rect">
            <a:avLst/>
          </a:prstGeom>
          <a:solidFill>
            <a:srgbClr val="10D2FF"/>
          </a:solidFill>
          <a:ln>
            <a:solidFill>
              <a:srgbClr val="10D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600" b="1" dirty="0" smtClean="0"/>
              <a:t>Take Aw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Added Adult multi </a:t>
            </a:r>
            <a:r>
              <a:rPr lang="en-GB" sz="1400" dirty="0" err="1"/>
              <a:t>V</a:t>
            </a:r>
            <a:r>
              <a:rPr lang="en-GB" sz="1400" dirty="0" err="1" smtClean="0"/>
              <a:t>enturi</a:t>
            </a:r>
            <a:r>
              <a:rPr lang="en-GB" sz="1400" dirty="0" smtClean="0"/>
              <a:t> kit with U-connect tub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Added 24% </a:t>
            </a:r>
            <a:r>
              <a:rPr lang="en-GB" sz="1400" dirty="0" err="1" smtClean="0"/>
              <a:t>Venturi</a:t>
            </a:r>
            <a:r>
              <a:rPr lang="en-GB" sz="1400" dirty="0" smtClean="0"/>
              <a:t> Mask with tub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15 Languages</a:t>
            </a:r>
            <a:endParaRPr lang="en-GB" sz="14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3344678"/>
              </p:ext>
            </p:extLst>
          </p:nvPr>
        </p:nvGraphicFramePr>
        <p:xfrm>
          <a:off x="567731" y="1337857"/>
          <a:ext cx="8023609" cy="3247579"/>
        </p:xfrm>
        <a:graphic>
          <a:graphicData uri="http://schemas.openxmlformats.org/drawingml/2006/table">
            <a:tbl>
              <a:tblPr/>
              <a:tblGrid>
                <a:gridCol w="529574"/>
                <a:gridCol w="5726028"/>
                <a:gridCol w="1015018"/>
                <a:gridCol w="752989"/>
              </a:tblGrid>
              <a:tr h="153708">
                <a:tc>
                  <a:txBody>
                    <a:bodyPr/>
                    <a:lstStyle/>
                    <a:p>
                      <a:pPr algn="l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KU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duct description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ew Product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# Languages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213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01250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adiatric Venturi Style Mask Vinyl, Under-the-Chin Style with 15cm flextube, 6 diluter jets (24%, 28%, 31%, 35%, 40% and 50% oxygen concentrations), humidification hood and 2.1m (7') crush-resistant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213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01240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ult Venturi Style Mask Vinyl, Under-the-Chin Style with 15cm flextube, 6 diluter jets (24%, 28%, 31%, 35%, 40% and 50% oxygen concentrations), humidification hood and 2.1m (7') crush-resistant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213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01248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ult Venturi Style Tracheostomy Mask Vinyl, with 15cm flextube, 6 diluter jets (24%, 28%, 31%, 35%, 40% and 50% oxygen concentrations), humidification hood and 2.1m (7') crush-resistant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213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01363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ult Venturi Style Mask Vinyl, Under-the-Chin Style with15cm flextube, 6 diluter jets (24%, 28%, 31%, 35%, 40% and 50% oxygen concentrations), humidification hood and 2.1m (7') U-connnect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es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213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01241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ult Venturi Style Mask Vinyl, Under-the-Chin Style, 24% oxygen concentration, humidification hood and 2.1m (7') crush-resistant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es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213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01242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ult Venturi Style Mask Vinyl, Under-the-Chin Style, 28% oxygen concentration, humidification hood and 2.1m (7') crush-resistant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213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01244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ult Venturi Style Mask Vinyl, Under-the-Chin Style, 35% oxygen concentration, humidification hood and 2.1m (7') crush-resistant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213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0124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ult Venturi Style Mask Vinyl, Under-the-Chin Style, 40% oxygen concentrations humidification hood and 2.1m (7') crush-resistant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213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0125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ult Dual Dial Venturi Style Mask With 15 cm Flextube, Color Coded Low and Medium Concentration Dials, High Humidity Adapter / Humidification Hood, 2.1m (7') Crush Resistant Oxygen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213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01259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diatric Dual Dial Venturi Style Mask With 15 cm Flextube, Color Coded Low and Medium Concentration Dials, High Humidity Adapter / Humidification Hood, 2.1m (7') Crush Resistant Oxygen Tubing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213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01247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Venturi Style Tracheostomy Tee with 6"/15cm flextube, 6 diluter jets (24%, 28%, 31%, 35%, 40% and 50% oxygen concentrations), humidification hood, 7ft/2.1M crush-resistant tubing, 50/cs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6941" marR="6941" marT="694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1860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Utilising a Face Mask</a:t>
            </a:r>
            <a:endParaRPr lang="en-GB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© 2014 CareFusion Corporation or one of its subsidiaries. All rights reserved.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1" b="14448"/>
          <a:stretch/>
        </p:blipFill>
        <p:spPr bwMode="auto">
          <a:xfrm>
            <a:off x="495635" y="2158444"/>
            <a:ext cx="2269990" cy="207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407147" y="4330983"/>
            <a:ext cx="252286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 mask with a reservoir, be sure to allow oxygen to fill bag</a:t>
            </a:r>
            <a:endParaRPr lang="en-GB" sz="10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6" name="Picture 4" descr="http://downloads.lww.com/wolterskluwer_vitalstream_com/sample-content/9780781788786_Craven/samples/mod09/img/2a_1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94" r="1877"/>
          <a:stretch/>
        </p:blipFill>
        <p:spPr bwMode="auto">
          <a:xfrm>
            <a:off x="3390272" y="2166131"/>
            <a:ext cx="2269990" cy="2076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http://downloads.lww.com/wolterskluwer_vitalstream_com/sample-content/9780781788786_Craven/samples/mod09/img/2b_05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36"/>
          <a:stretch/>
        </p:blipFill>
        <p:spPr bwMode="auto">
          <a:xfrm>
            <a:off x="6201039" y="2166132"/>
            <a:ext cx="2269990" cy="2090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301783" y="4330983"/>
            <a:ext cx="24402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 mask on face, applying from the nose and over the chin</a:t>
            </a:r>
            <a:endParaRPr lang="en-GB" sz="10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125108" y="4330983"/>
            <a:ext cx="24218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just the metal rim over the nose and contour the mask to the face</a:t>
            </a:r>
            <a:endParaRPr lang="en-GB" sz="10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95635" y="1246550"/>
            <a:ext cx="37715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 as per Nasal Cannula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9222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GB" sz="2800" dirty="0" smtClean="0">
                <a:latin typeface="+mj-lt"/>
              </a:rPr>
              <a:t>O2 range by product</a:t>
            </a:r>
            <a:endParaRPr lang="en-GB" sz="2800" dirty="0">
              <a:latin typeface="+mj-lt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pic>
        <p:nvPicPr>
          <p:cNvPr id="6" name="Picture 5" descr="001309.jpg"/>
          <p:cNvPicPr>
            <a:picLocks noChangeAspect="1"/>
          </p:cNvPicPr>
          <p:nvPr/>
        </p:nvPicPr>
        <p:blipFill rotWithShape="1">
          <a:blip r:embed="rId2" cstate="print"/>
          <a:srcRect l="16796" t="2160" r="19596" b="2160"/>
          <a:stretch/>
        </p:blipFill>
        <p:spPr>
          <a:xfrm>
            <a:off x="2178280" y="1265293"/>
            <a:ext cx="809469" cy="1014105"/>
          </a:xfrm>
          <a:prstGeom prst="rect">
            <a:avLst/>
          </a:prstGeom>
          <a:ln>
            <a:noFill/>
          </a:ln>
        </p:spPr>
      </p:pic>
      <p:pic>
        <p:nvPicPr>
          <p:cNvPr id="7" name="Picture 6" descr="001200.jpg"/>
          <p:cNvPicPr>
            <a:picLocks noChangeAspect="1"/>
          </p:cNvPicPr>
          <p:nvPr/>
        </p:nvPicPr>
        <p:blipFill rotWithShape="1">
          <a:blip r:embed="rId3" cstate="print"/>
          <a:srcRect l="20808" t="6464" r="17773" b="7791"/>
          <a:stretch/>
        </p:blipFill>
        <p:spPr>
          <a:xfrm>
            <a:off x="3477717" y="1265293"/>
            <a:ext cx="869431" cy="1014105"/>
          </a:xfrm>
          <a:prstGeom prst="rect">
            <a:avLst/>
          </a:prstGeom>
        </p:spPr>
      </p:pic>
      <p:pic>
        <p:nvPicPr>
          <p:cNvPr id="8" name="Picture 2" descr="https://carefusion.widencollective.com/thumbnail/13108a47-64e8-4dbe-9237-e292cab0a393/av/2048px/AL_0315-0076.jpg?t=1471537140472&amp;s=41a865ace8ad07f77a49f5b7c3592f29b788c5a6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30" t="17735" r="9901" b="9247"/>
          <a:stretch/>
        </p:blipFill>
        <p:spPr bwMode="auto">
          <a:xfrm>
            <a:off x="6115924" y="1265292"/>
            <a:ext cx="615549" cy="1014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https://carefusion.widencollective.com/thumbnail/b231e2ed-b7fa-4db5-b889-a143c473ae85/av/2048px/AL_0413-0017.jpg?t=1471536653519&amp;s=90336e44808abb04c2a3671450d4f61806467aa9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63" t="6020" r="9074" b="8655"/>
          <a:stretch/>
        </p:blipFill>
        <p:spPr bwMode="auto">
          <a:xfrm>
            <a:off x="7321441" y="1265293"/>
            <a:ext cx="902119" cy="1014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001240.jpg"/>
          <p:cNvPicPr>
            <a:picLocks noChangeAspect="1"/>
          </p:cNvPicPr>
          <p:nvPr/>
        </p:nvPicPr>
        <p:blipFill rotWithShape="1">
          <a:blip r:embed="rId6" cstate="print"/>
          <a:srcRect l="19793" t="2107" r="19793" b="2107"/>
          <a:stretch/>
        </p:blipFill>
        <p:spPr>
          <a:xfrm>
            <a:off x="4848962" y="1265292"/>
            <a:ext cx="651717" cy="1014104"/>
          </a:xfrm>
          <a:prstGeom prst="rect">
            <a:avLst/>
          </a:prstGeom>
        </p:spPr>
      </p:pic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8227553"/>
              </p:ext>
            </p:extLst>
          </p:nvPr>
        </p:nvGraphicFramePr>
        <p:xfrm>
          <a:off x="671703" y="2479626"/>
          <a:ext cx="7707798" cy="34601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84633"/>
                <a:gridCol w="1284633"/>
                <a:gridCol w="1284633"/>
                <a:gridCol w="1284633"/>
                <a:gridCol w="1284633"/>
                <a:gridCol w="1284633"/>
              </a:tblGrid>
              <a:tr h="27216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</a:rPr>
                        <a:t>Type of system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Nasal</a:t>
                      </a:r>
                      <a:r>
                        <a:rPr lang="en-GB" sz="11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Cannula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Simple Oxygen</a:t>
                      </a:r>
                      <a:r>
                        <a:rPr lang="en-GB" sz="11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Mask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err="1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Venturi</a:t>
                      </a:r>
                      <a:r>
                        <a:rPr lang="en-GB" sz="11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Mask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Partial Re-breather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Non</a:t>
                      </a:r>
                      <a:r>
                        <a:rPr lang="en-GB" sz="11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Rebreather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/>
                </a:tc>
              </a:tr>
              <a:tr h="74046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effectLst/>
                          <a:latin typeface="+mn-lt"/>
                        </a:rPr>
                        <a:t>Type of system</a:t>
                      </a:r>
                      <a:endParaRPr lang="en-GB" sz="11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Low Flow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Low Flow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High Flow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Med Flow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High Flow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</a:tr>
              <a:tr h="77803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</a:rPr>
                        <a:t>Respiratory Flow Rate (L/min)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 –</a:t>
                      </a:r>
                      <a:r>
                        <a:rPr lang="en-GB" sz="11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6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5 – 10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 – 15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6 - 10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0 - 15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</a:tr>
              <a:tr h="51869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</a:rPr>
                        <a:t>Oxygen Range %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4 – 44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35 – 50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4 – 60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40 – 70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60 - 80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</a:tr>
              <a:tr h="51869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</a:rPr>
                        <a:t>Accurate delivery of FiO2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No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No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Yes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No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No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</a:tr>
              <a:tr h="51869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  <a:latin typeface="+mn-lt"/>
                        </a:rPr>
                        <a:t>Ability to humidify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&gt; 4 </a:t>
                      </a:r>
                      <a:r>
                        <a:rPr lang="en-GB" sz="1100" dirty="0" err="1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lpm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N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N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N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N</a:t>
                      </a:r>
                      <a:endParaRPr lang="en-GB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9622" marR="59622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5895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GB" dirty="0" smtClean="0">
                <a:latin typeface="+mj-lt"/>
              </a:rPr>
              <a:t>What the Doctor Ordered….</a:t>
            </a:r>
            <a:endParaRPr lang="en-GB" dirty="0">
              <a:latin typeface="+mj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99730" y="1509840"/>
            <a:ext cx="592233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arenR"/>
            </a:pPr>
            <a:r>
              <a:rPr lang="en-GB" dirty="0" smtClean="0"/>
              <a:t>Precisely 30% FiO2?</a:t>
            </a:r>
          </a:p>
          <a:p>
            <a:endParaRPr lang="en-GB" dirty="0" smtClean="0"/>
          </a:p>
          <a:p>
            <a:r>
              <a:rPr lang="en-GB" dirty="0"/>
              <a:t>	</a:t>
            </a:r>
            <a:endParaRPr lang="en-GB" dirty="0" smtClean="0"/>
          </a:p>
          <a:p>
            <a:r>
              <a:rPr lang="en-GB" dirty="0" smtClean="0"/>
              <a:t>2) 30% FiO2 humidified</a:t>
            </a:r>
          </a:p>
          <a:p>
            <a:endParaRPr lang="en-GB" dirty="0" smtClean="0"/>
          </a:p>
          <a:p>
            <a:endParaRPr lang="en-GB" dirty="0"/>
          </a:p>
          <a:p>
            <a:r>
              <a:rPr lang="en-GB" dirty="0" smtClean="0"/>
              <a:t>3) 40% FiO2 increasing if needed</a:t>
            </a:r>
          </a:p>
          <a:p>
            <a:endParaRPr lang="en-GB" dirty="0" smtClean="0"/>
          </a:p>
          <a:p>
            <a:endParaRPr lang="en-GB" dirty="0"/>
          </a:p>
          <a:p>
            <a:r>
              <a:rPr lang="en-GB" dirty="0" smtClean="0"/>
              <a:t>4) 40% FiO2 but patient won’t tolerate a mask</a:t>
            </a:r>
          </a:p>
          <a:p>
            <a:endParaRPr lang="en-GB" dirty="0" smtClean="0"/>
          </a:p>
          <a:p>
            <a:endParaRPr lang="en-GB" dirty="0"/>
          </a:p>
          <a:p>
            <a:r>
              <a:rPr lang="en-GB" dirty="0" smtClean="0"/>
              <a:t>5) 80% FiO2</a:t>
            </a:r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3264195" y="1882675"/>
            <a:ext cx="25092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 smtClean="0">
                <a:solidFill>
                  <a:schemeClr val="tx2"/>
                </a:solidFill>
              </a:rPr>
              <a:t>Venturi</a:t>
            </a:r>
            <a:endParaRPr lang="en-GB" dirty="0" smtClean="0">
              <a:solidFill>
                <a:schemeClr val="tx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264195" y="2768721"/>
            <a:ext cx="25092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tx2"/>
                </a:solidFill>
              </a:rPr>
              <a:t>Nasal Cannula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264195" y="3580339"/>
            <a:ext cx="30355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 smtClean="0">
                <a:solidFill>
                  <a:schemeClr val="tx2"/>
                </a:solidFill>
              </a:rPr>
              <a:t>Venturi</a:t>
            </a:r>
            <a:r>
              <a:rPr lang="en-GB" dirty="0" smtClean="0">
                <a:solidFill>
                  <a:schemeClr val="tx2"/>
                </a:solidFill>
              </a:rPr>
              <a:t> or Rebreathe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264195" y="4487651"/>
            <a:ext cx="30355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tx2"/>
                </a:solidFill>
              </a:rPr>
              <a:t>Nasal Cannula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264195" y="5224866"/>
            <a:ext cx="30355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tx2"/>
                </a:solidFill>
              </a:rPr>
              <a:t>Non Rebreather</a:t>
            </a:r>
          </a:p>
        </p:txBody>
      </p:sp>
    </p:spTree>
    <p:extLst>
      <p:ext uri="{BB962C8B-B14F-4D97-AF65-F5344CB8AC3E}">
        <p14:creationId xmlns:p14="http://schemas.microsoft.com/office/powerpoint/2010/main" val="1769861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/>
      <p:bldP spid="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3</a:t>
            </a:fld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457200" y="1637070"/>
            <a:ext cx="82296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ocus on what do we have – what is coming soon:</a:t>
            </a:r>
          </a:p>
          <a:p>
            <a:endParaRPr lang="en-GB" sz="2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annula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edium </a:t>
            </a:r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c</a:t>
            </a:r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Mask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igh </a:t>
            </a:r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c</a:t>
            </a:r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/ 3 in 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Venturi</a:t>
            </a:r>
            <a:endParaRPr lang="en-GB" sz="2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TCO2</a:t>
            </a:r>
          </a:p>
          <a:p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en-GB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682892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TCO</a:t>
            </a:r>
            <a:r>
              <a:rPr lang="en-US" baseline="-25000" dirty="0" smtClean="0"/>
              <a:t>2</a:t>
            </a:r>
            <a:r>
              <a:rPr lang="en-US" dirty="0" smtClean="0"/>
              <a:t> </a:t>
            </a:r>
            <a:r>
              <a:rPr lang="en-US" dirty="0"/>
              <a:t>Monitor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8268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6254"/>
            <a:ext cx="8229600" cy="730071"/>
          </a:xfrm>
        </p:spPr>
        <p:txBody>
          <a:bodyPr>
            <a:normAutofit/>
          </a:bodyPr>
          <a:lstStyle/>
          <a:p>
            <a:r>
              <a:rPr lang="en-US" dirty="0" smtClean="0"/>
              <a:t>What is EtCO</a:t>
            </a:r>
            <a:r>
              <a:rPr lang="en-US" baseline="-25000" dirty="0" smtClean="0"/>
              <a:t>2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076325"/>
            <a:ext cx="8229600" cy="4525963"/>
          </a:xfrm>
          <a:prstGeom prst="rect">
            <a:avLst/>
          </a:prstGeom>
        </p:spPr>
        <p:txBody>
          <a:bodyPr/>
          <a:lstStyle/>
          <a:p>
            <a:pPr marL="457200" indent="-457200"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black"/>
                </a:solidFill>
              </a:rPr>
              <a:t>The CO</a:t>
            </a:r>
            <a:r>
              <a:rPr lang="en-US" sz="2800" baseline="-25000" dirty="0">
                <a:solidFill>
                  <a:prstClr val="black"/>
                </a:solidFill>
              </a:rPr>
              <a:t>2</a:t>
            </a:r>
            <a:r>
              <a:rPr lang="en-US" sz="2800" dirty="0">
                <a:solidFill>
                  <a:prstClr val="black"/>
                </a:solidFill>
              </a:rPr>
              <a:t> concentration at the end of expiration</a:t>
            </a:r>
          </a:p>
          <a:p>
            <a:pPr marL="457200" indent="-457200"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prstClr val="black"/>
                </a:solidFill>
              </a:rPr>
              <a:t>Provides </a:t>
            </a:r>
            <a:r>
              <a:rPr lang="en-US" sz="2800" dirty="0">
                <a:solidFill>
                  <a:prstClr val="black"/>
                </a:solidFill>
              </a:rPr>
              <a:t>a clinical estimate of the PaCO</a:t>
            </a:r>
            <a:r>
              <a:rPr lang="en-US" sz="2800" baseline="-25000" dirty="0">
                <a:solidFill>
                  <a:prstClr val="black"/>
                </a:solidFill>
              </a:rPr>
              <a:t>2</a:t>
            </a:r>
            <a:r>
              <a:rPr lang="en-US" sz="2800" dirty="0">
                <a:solidFill>
                  <a:prstClr val="black"/>
                </a:solidFill>
              </a:rPr>
              <a:t> </a:t>
            </a:r>
            <a:endParaRPr lang="en-US" sz="2800" dirty="0" smtClean="0">
              <a:solidFill>
                <a:prstClr val="black"/>
              </a:solidFill>
            </a:endParaRPr>
          </a:p>
          <a:p>
            <a:pPr marL="457200" indent="-457200"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prstClr val="black"/>
                </a:solidFill>
              </a:rPr>
              <a:t>Breath </a:t>
            </a:r>
            <a:r>
              <a:rPr lang="en-US" sz="2800" dirty="0">
                <a:solidFill>
                  <a:prstClr val="black"/>
                </a:solidFill>
              </a:rPr>
              <a:t>by breath assessment of </a:t>
            </a:r>
            <a:r>
              <a:rPr lang="en-US" sz="2800" dirty="0" smtClean="0">
                <a:solidFill>
                  <a:prstClr val="black"/>
                </a:solidFill>
              </a:rPr>
              <a:t>ventilation</a:t>
            </a:r>
            <a:endParaRPr lang="en-US" sz="2000" dirty="0" smtClean="0">
              <a:solidFill>
                <a:prstClr val="black"/>
              </a:solidFill>
            </a:endParaRP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</a:pPr>
            <a:endParaRPr lang="en-US" sz="2000" dirty="0" smtClean="0">
              <a:solidFill>
                <a:prstClr val="black"/>
              </a:solidFill>
            </a:endParaRPr>
          </a:p>
          <a:p>
            <a:pPr>
              <a:spcBef>
                <a:spcPct val="20000"/>
              </a:spcBef>
              <a:defRPr/>
            </a:pPr>
            <a:endParaRPr lang="en-US" sz="2000" dirty="0" smtClean="0">
              <a:solidFill>
                <a:prstClr val="black"/>
              </a:solidFill>
            </a:endParaRPr>
          </a:p>
          <a:p>
            <a:pPr marL="287338" indent="-287338">
              <a:spcBef>
                <a:spcPct val="20000"/>
              </a:spcBef>
              <a:defRPr/>
            </a:pPr>
            <a:endParaRPr lang="en-US" sz="2400" dirty="0" smtClean="0">
              <a:solidFill>
                <a:prstClr val="black"/>
              </a:solidFill>
            </a:endParaRPr>
          </a:p>
          <a:p>
            <a:pPr marL="287338" indent="-287338">
              <a:spcBef>
                <a:spcPct val="20000"/>
              </a:spcBef>
              <a:defRPr/>
            </a:pPr>
            <a:endParaRPr lang="en-US" sz="2000" dirty="0" smtClean="0">
              <a:solidFill>
                <a:prstClr val="black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179" y="2934305"/>
            <a:ext cx="7967639" cy="22908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73455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6254"/>
            <a:ext cx="8229600" cy="730071"/>
          </a:xfrm>
        </p:spPr>
        <p:txBody>
          <a:bodyPr>
            <a:normAutofit/>
          </a:bodyPr>
          <a:lstStyle/>
          <a:p>
            <a:r>
              <a:rPr lang="en-US" dirty="0" smtClean="0"/>
              <a:t>Why EtCO</a:t>
            </a:r>
            <a:r>
              <a:rPr lang="en-US" baseline="-25000" dirty="0" smtClean="0"/>
              <a:t>2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076325"/>
            <a:ext cx="8229600" cy="4525963"/>
          </a:xfrm>
          <a:prstGeom prst="rect">
            <a:avLst/>
          </a:prstGeom>
        </p:spPr>
        <p:txBody>
          <a:bodyPr/>
          <a:lstStyle/>
          <a:p>
            <a:pPr marL="457200" indent="-457200"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prstClr val="black"/>
                </a:solidFill>
              </a:rPr>
              <a:t>Oxygen &amp; carbon dioxide levels determine how </a:t>
            </a:r>
            <a:r>
              <a:rPr lang="en-US" sz="2800" dirty="0">
                <a:solidFill>
                  <a:prstClr val="black"/>
                </a:solidFill>
              </a:rPr>
              <a:t>damaged or ill the body is</a:t>
            </a:r>
          </a:p>
          <a:p>
            <a:pPr marL="457200" indent="-457200"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prstClr val="black"/>
                </a:solidFill>
              </a:rPr>
              <a:t>Allow for clinician intervention</a:t>
            </a:r>
            <a:endParaRPr lang="en-US" sz="2800" dirty="0">
              <a:solidFill>
                <a:prstClr val="black"/>
              </a:solidFill>
            </a:endParaRPr>
          </a:p>
          <a:p>
            <a:pPr marL="457200" indent="-457200">
              <a:spcAft>
                <a:spcPts val="600"/>
              </a:spcAft>
              <a:buClr>
                <a:prstClr val="black"/>
              </a:buClr>
              <a:buSzPct val="80000"/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black"/>
              </a:solidFill>
            </a:endParaRPr>
          </a:p>
          <a:p>
            <a:pPr marL="287338" indent="-287338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</a:pPr>
            <a:endParaRPr lang="en-US" sz="2000" dirty="0" smtClean="0">
              <a:solidFill>
                <a:prstClr val="black"/>
              </a:solidFill>
            </a:endParaRPr>
          </a:p>
          <a:p>
            <a:pPr marL="287338" indent="-287338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</a:pPr>
            <a:endParaRPr lang="en-US" sz="2000" dirty="0" smtClean="0">
              <a:solidFill>
                <a:prstClr val="black"/>
              </a:solidFill>
            </a:endParaRPr>
          </a:p>
          <a:p>
            <a:pPr marL="287338" indent="-287338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endParaRPr lang="en-US" sz="2000" dirty="0" smtClean="0">
              <a:solidFill>
                <a:prstClr val="black"/>
              </a:solidFill>
            </a:endParaRPr>
          </a:p>
          <a:p>
            <a:pPr marL="287338" indent="-287338">
              <a:spcBef>
                <a:spcPct val="20000"/>
              </a:spcBef>
              <a:defRPr/>
            </a:pPr>
            <a:endParaRPr lang="en-US" sz="2400" dirty="0" smtClean="0">
              <a:solidFill>
                <a:prstClr val="black"/>
              </a:solidFill>
            </a:endParaRPr>
          </a:p>
          <a:p>
            <a:pPr marL="287338" indent="-287338">
              <a:spcBef>
                <a:spcPct val="20000"/>
              </a:spcBef>
              <a:defRPr/>
            </a:pPr>
            <a:endParaRPr lang="en-US" sz="2000" dirty="0" smtClean="0">
              <a:solidFill>
                <a:prstClr val="black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3044880"/>
            <a:ext cx="7901807" cy="213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74767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www.co2monitorsforsale.com/uploads/images/product/39/public/prof_ag_4f5a76afadd36LifeSense-2.jpg"/>
          <p:cNvPicPr>
            <a:picLocks noChangeAspect="1" noChangeArrowheads="1"/>
          </p:cNvPicPr>
          <p:nvPr/>
        </p:nvPicPr>
        <p:blipFill>
          <a:blip r:embed="rId3" cstate="print"/>
          <a:srcRect b="8566"/>
          <a:stretch>
            <a:fillRect/>
          </a:stretch>
        </p:blipFill>
        <p:spPr bwMode="auto">
          <a:xfrm>
            <a:off x="6833581" y="1"/>
            <a:ext cx="2153379" cy="1496378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6254"/>
            <a:ext cx="8229600" cy="730071"/>
          </a:xfrm>
        </p:spPr>
        <p:txBody>
          <a:bodyPr>
            <a:normAutofit/>
          </a:bodyPr>
          <a:lstStyle/>
          <a:p>
            <a:r>
              <a:rPr lang="en-US" dirty="0" smtClean="0"/>
              <a:t>What is Capnography?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929162"/>
            <a:ext cx="7453070" cy="4525963"/>
          </a:xfrm>
          <a:prstGeom prst="rect">
            <a:avLst/>
          </a:prstGeom>
        </p:spPr>
        <p:txBody>
          <a:bodyPr/>
          <a:lstStyle/>
          <a:p>
            <a:pPr marL="287338" indent="-287338">
              <a:spcBef>
                <a:spcPct val="20000"/>
              </a:spcBef>
              <a:defRPr/>
            </a:pPr>
            <a:r>
              <a:rPr lang="en-US" sz="2000" b="1" dirty="0" smtClean="0">
                <a:solidFill>
                  <a:schemeClr val="tx2"/>
                </a:solidFill>
              </a:rPr>
              <a:t>Definitions</a:t>
            </a:r>
          </a:p>
          <a:p>
            <a:pPr marL="287338" indent="-287338">
              <a:defRPr/>
            </a:pPr>
            <a:endParaRPr lang="en-US" sz="1100" b="1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7338" indent="-287338">
              <a:defRPr/>
            </a:pP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apnography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= Contains both a numerical value of ETCO</a:t>
            </a:r>
            <a:r>
              <a:rPr lang="en-US" baseline="-25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d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a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aveform of the concentration of CO</a:t>
            </a:r>
            <a:r>
              <a:rPr lang="en-US" baseline="-25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esent in the 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irway</a:t>
            </a:r>
          </a:p>
          <a:p>
            <a:pPr marL="287338" indent="-287338">
              <a:defRPr/>
            </a:pP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7338" indent="-287338">
              <a:defRPr/>
            </a:pPr>
            <a:r>
              <a:rPr lang="en-US" dirty="0" err="1" smtClean="0">
                <a:solidFill>
                  <a:schemeClr val="tx2"/>
                </a:solidFill>
              </a:rPr>
              <a:t>Capnometer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= Provides only a numerical measurement </a:t>
            </a:r>
          </a:p>
          <a:p>
            <a:pPr marL="1588" indent="-1588">
              <a:defRPr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f carbon dioxide (35-45 mmHg is normal CO2 value in your body – normal readings are 30-43 mmHg) </a:t>
            </a:r>
          </a:p>
          <a:p>
            <a:pPr marL="287338" indent="-287338">
              <a:spcBef>
                <a:spcPct val="20000"/>
              </a:spcBef>
              <a:defRPr/>
            </a:pPr>
            <a:endParaRPr lang="en-US" sz="1100" dirty="0" smtClean="0">
              <a:solidFill>
                <a:schemeClr val="tx2"/>
              </a:solidFill>
            </a:endParaRPr>
          </a:p>
          <a:p>
            <a:pPr marL="287338" indent="-287338">
              <a:spcBef>
                <a:spcPct val="20000"/>
              </a:spcBef>
              <a:defRPr/>
            </a:pPr>
            <a:r>
              <a:rPr lang="en-US" dirty="0" smtClean="0">
                <a:solidFill>
                  <a:schemeClr val="tx2"/>
                </a:solidFill>
              </a:rPr>
              <a:t>Capnogram 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= Is a waveform display of carbon dioxide over time (should look square)</a:t>
            </a:r>
          </a:p>
          <a:p>
            <a:pPr marL="287338" indent="-287338">
              <a:spcBef>
                <a:spcPct val="20000"/>
              </a:spcBef>
              <a:defRPr/>
            </a:pPr>
            <a:endParaRPr lang="en-US" sz="11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7338" indent="-287338">
              <a:spcBef>
                <a:spcPct val="20000"/>
              </a:spcBef>
              <a:defRPr/>
            </a:pP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7338" indent="-287338">
              <a:spcBef>
                <a:spcPct val="20000"/>
              </a:spcBef>
              <a:defRPr/>
            </a:pPr>
            <a:endParaRPr lang="en-US" sz="2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7338" indent="-287338">
              <a:spcBef>
                <a:spcPct val="20000"/>
              </a:spcBef>
              <a:defRPr/>
            </a:pP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01596" y="2407464"/>
            <a:ext cx="6572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690156" y="4147064"/>
            <a:ext cx="1763688" cy="64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0" name="Picture 2" descr="http://cache.gawkerassets.com/assets/images/4/2011/05/bci-9004050.jpg"/>
          <p:cNvPicPr>
            <a:picLocks noChangeAspect="1" noChangeArrowheads="1"/>
          </p:cNvPicPr>
          <p:nvPr/>
        </p:nvPicPr>
        <p:blipFill>
          <a:blip r:embed="rId6" cstate="print"/>
          <a:srcRect l="14120" t="12666" r="6742" b="11934"/>
          <a:stretch>
            <a:fillRect/>
          </a:stretch>
        </p:blipFill>
        <p:spPr bwMode="auto">
          <a:xfrm>
            <a:off x="457200" y="4089122"/>
            <a:ext cx="2743200" cy="173986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5739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758" y="346254"/>
            <a:ext cx="8229600" cy="1143000"/>
          </a:xfrm>
        </p:spPr>
        <p:txBody>
          <a:bodyPr/>
          <a:lstStyle/>
          <a:p>
            <a:r>
              <a:rPr lang="en-US" dirty="0" smtClean="0"/>
              <a:t>What is Capnography?</a:t>
            </a:r>
            <a:endParaRPr lang="en-US" dirty="0"/>
          </a:p>
        </p:txBody>
      </p:sp>
      <p:sp>
        <p:nvSpPr>
          <p:cNvPr id="1025" name="Rectangle 1"/>
          <p:cNvSpPr>
            <a:spLocks noChangeArrowheads="1"/>
          </p:cNvSpPr>
          <p:nvPr/>
        </p:nvSpPr>
        <p:spPr bwMode="auto">
          <a:xfrm>
            <a:off x="786143" y="3168566"/>
            <a:ext cx="8146472" cy="36933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8" fontAlgn="base">
              <a:spcBef>
                <a:spcPct val="0"/>
              </a:spcBef>
              <a:spcAft>
                <a:spcPct val="0"/>
              </a:spcAft>
              <a:tabLst>
                <a:tab pos="228600" algn="l"/>
              </a:tabLst>
            </a:pPr>
            <a:endParaRPr lang="en-US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8757" y="1009403"/>
            <a:ext cx="88352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3B6E8F"/>
                </a:solidFill>
              </a:rPr>
              <a:t>Mainstream </a:t>
            </a:r>
            <a:r>
              <a:rPr lang="en-US" sz="2400" b="1" dirty="0" err="1" smtClean="0">
                <a:solidFill>
                  <a:srgbClr val="3B6E8F"/>
                </a:solidFill>
              </a:rPr>
              <a:t>vs</a:t>
            </a:r>
            <a:r>
              <a:rPr lang="en-US" sz="2400" b="1" dirty="0" smtClean="0">
                <a:solidFill>
                  <a:srgbClr val="3B6E8F"/>
                </a:solidFill>
              </a:rPr>
              <a:t> </a:t>
            </a:r>
            <a:r>
              <a:rPr lang="en-US" sz="2400" b="1" dirty="0" err="1" smtClean="0">
                <a:solidFill>
                  <a:srgbClr val="3B6E8F"/>
                </a:solidFill>
              </a:rPr>
              <a:t>Sidestream</a:t>
            </a:r>
            <a:r>
              <a:rPr lang="en-US" sz="2400" b="1" dirty="0" smtClean="0">
                <a:solidFill>
                  <a:srgbClr val="3B6E8F"/>
                </a:solidFill>
              </a:rPr>
              <a:t> </a:t>
            </a:r>
            <a:r>
              <a:rPr lang="en-US" sz="2400" b="1" dirty="0" err="1">
                <a:solidFill>
                  <a:srgbClr val="3B6E8F"/>
                </a:solidFill>
              </a:rPr>
              <a:t>C</a:t>
            </a:r>
            <a:r>
              <a:rPr lang="en-US" sz="2400" b="1" dirty="0" err="1" smtClean="0">
                <a:solidFill>
                  <a:srgbClr val="3B6E8F"/>
                </a:solidFill>
              </a:rPr>
              <a:t>apnography</a:t>
            </a:r>
            <a:r>
              <a:rPr lang="en-US" sz="2400" b="1" dirty="0" smtClean="0">
                <a:solidFill>
                  <a:srgbClr val="3B6E8F"/>
                </a:solidFill>
              </a:rPr>
              <a:t> Devices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5026" y="1779748"/>
            <a:ext cx="3517900" cy="393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08758" y="2006930"/>
            <a:ext cx="803959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ainstream devices measure respiratory gas directly from the airway, with the sensor located on the airway adapter at the hub of the </a:t>
            </a:r>
            <a:r>
              <a:rPr lang="en-US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ndotracheal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tube.</a:t>
            </a:r>
          </a:p>
          <a:p>
            <a:pPr marL="342900" indent="-342900">
              <a:buFont typeface="Arial" pitchFamily="34" charset="0"/>
              <a:buChar char="•"/>
            </a:pP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idestream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devices measure respiratory gas via nasal or nasal/oral </a:t>
            </a:r>
            <a:r>
              <a:rPr lang="en-US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annula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by aspirating a small sample from the exhaled breath through the </a:t>
            </a:r>
            <a:r>
              <a:rPr lang="en-US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annula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tubing to a sensor located inside the monitor.</a:t>
            </a:r>
          </a:p>
          <a:p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ur </a:t>
            </a:r>
            <a:r>
              <a:rPr lang="en-US" b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ir</a:t>
            </a:r>
            <a:r>
              <a:rPr lang="en-US" b="1" i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ife</a:t>
            </a:r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ETCO</a:t>
            </a:r>
            <a:r>
              <a:rPr lang="en-US" b="1" baseline="-25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cannulas are to be used with </a:t>
            </a:r>
            <a:r>
              <a:rPr lang="en-US" b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idestream</a:t>
            </a:r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monitoring devices.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08065" y="6466114"/>
            <a:ext cx="4493623" cy="229235"/>
          </a:xfrm>
        </p:spPr>
        <p:txBody>
          <a:bodyPr/>
          <a:lstStyle/>
          <a:p>
            <a:r>
              <a:rPr lang="en-US" sz="700" dirty="0" smtClean="0">
                <a:solidFill>
                  <a:prstClr val="black"/>
                </a:solidFill>
              </a:rPr>
              <a:t>© 2013 CareFusion Corporation or one of its subsidiar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52323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ETCO2CANNULA-0002_R2.jpg"/>
          <p:cNvPicPr>
            <a:picLocks noChangeAspect="1"/>
          </p:cNvPicPr>
          <p:nvPr/>
        </p:nvPicPr>
        <p:blipFill>
          <a:blip r:embed="rId3" cstate="print"/>
          <a:srcRect l="14623" r="11974" b="2832"/>
          <a:stretch>
            <a:fillRect/>
          </a:stretch>
        </p:blipFill>
        <p:spPr>
          <a:xfrm>
            <a:off x="5233069" y="1860877"/>
            <a:ext cx="3515081" cy="39319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6254"/>
            <a:ext cx="8229600" cy="730071"/>
          </a:xfrm>
        </p:spPr>
        <p:txBody>
          <a:bodyPr>
            <a:normAutofit/>
          </a:bodyPr>
          <a:lstStyle/>
          <a:p>
            <a:r>
              <a:rPr lang="en-US" dirty="0" smtClean="0"/>
              <a:t>Air</a:t>
            </a:r>
            <a:r>
              <a:rPr lang="en-US" i="1" dirty="0" smtClean="0"/>
              <a:t>Life</a:t>
            </a:r>
            <a:r>
              <a:rPr lang="en-US" dirty="0" smtClean="0"/>
              <a:t> ETCO</a:t>
            </a:r>
            <a:r>
              <a:rPr lang="en-US" baseline="-25000" dirty="0" smtClean="0"/>
              <a:t>2</a:t>
            </a:r>
            <a:r>
              <a:rPr lang="en-US" dirty="0" smtClean="0"/>
              <a:t> Sampling Cannula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076325"/>
            <a:ext cx="8229600" cy="4525963"/>
          </a:xfrm>
          <a:prstGeom prst="rect">
            <a:avLst/>
          </a:prstGeom>
        </p:spPr>
        <p:txBody>
          <a:bodyPr/>
          <a:lstStyle/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hy is it used?</a:t>
            </a:r>
          </a:p>
          <a:p>
            <a:pPr marL="227013" lvl="0" indent="-227013">
              <a:spcBef>
                <a:spcPts val="600"/>
              </a:spcBef>
              <a:buFont typeface="Arial" pitchFamily="34" charset="0"/>
              <a:buChar char="•"/>
            </a:pP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27013" lvl="0" indent="-227013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ccurate information about the rate and rhythm of respiration can be obtained by sampling CO</a:t>
            </a:r>
            <a:r>
              <a:rPr lang="en-US" baseline="-25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using sampling nasal cannulas from patients under conscious sedation.</a:t>
            </a:r>
          </a:p>
          <a:p>
            <a:pPr marL="227013" lvl="0" indent="-227013">
              <a:spcBef>
                <a:spcPct val="20000"/>
              </a:spcBef>
              <a:buFont typeface="Arial" pitchFamily="34" charset="0"/>
              <a:buChar char="•"/>
            </a:pP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27013" lvl="0" indent="-227013">
              <a:buFont typeface="Arial" pitchFamily="34" charset="0"/>
              <a:buChar char="•"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ulse </a:t>
            </a:r>
            <a:r>
              <a:rPr lang="en-US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ximetry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is a peripheral measure of oxygenation, but it does not deliver information on the adequacy of ventilation.</a:t>
            </a:r>
          </a:p>
          <a:p>
            <a:pPr marL="684213" lvl="1" indent="-227013"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t gives no immediate detection of hypoventilation, apnea, or airway obstruction</a:t>
            </a:r>
          </a:p>
          <a:p>
            <a:pPr lvl="1"/>
            <a:endParaRPr lang="en-US" sz="16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27013" lvl="0" indent="-227013">
              <a:buFont typeface="Arial" pitchFamily="34" charset="0"/>
              <a:buChar char="•"/>
            </a:pPr>
            <a:r>
              <a:rPr lang="en-US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apnography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is able to provide advance warning because it monitors the respiratory effort and respiratory efficiency.</a:t>
            </a:r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8731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6254"/>
            <a:ext cx="8229600" cy="730071"/>
          </a:xfrm>
        </p:spPr>
        <p:txBody>
          <a:bodyPr>
            <a:normAutofit/>
          </a:bodyPr>
          <a:lstStyle/>
          <a:p>
            <a:r>
              <a:rPr lang="en-US" dirty="0" smtClean="0"/>
              <a:t>Air</a:t>
            </a:r>
            <a:r>
              <a:rPr lang="en-US" i="1" dirty="0" smtClean="0"/>
              <a:t>Life</a:t>
            </a:r>
            <a:r>
              <a:rPr lang="en-US" dirty="0" smtClean="0"/>
              <a:t> ETCO</a:t>
            </a:r>
            <a:r>
              <a:rPr lang="en-US" baseline="-25000" dirty="0" smtClean="0"/>
              <a:t>2</a:t>
            </a:r>
            <a:r>
              <a:rPr lang="en-US" dirty="0" smtClean="0"/>
              <a:t> Sampling Cannula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076325"/>
            <a:ext cx="8229600" cy="4525963"/>
          </a:xfrm>
          <a:prstGeom prst="rect">
            <a:avLst/>
          </a:prstGeom>
        </p:spPr>
        <p:txBody>
          <a:bodyPr/>
          <a:lstStyle/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ow is it used?</a:t>
            </a: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oxygen tubing is connected to the gas source while the gas sampling line is connected to a capnography monitor. </a:t>
            </a: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</a:pPr>
            <a:endParaRPr lang="en-US" sz="2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cannula nose piece is divided so that one side allows for oxygen inhalation while the other side allows for end-tidal CO</a:t>
            </a:r>
            <a:r>
              <a:rPr lang="en-US" sz="2000" baseline="-25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r>
              <a:rPr 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sampling.</a:t>
            </a:r>
          </a:p>
          <a:p>
            <a:pPr marL="287338" lvl="0" indent="-287338">
              <a:spcBef>
                <a:spcPct val="20000"/>
              </a:spcBef>
              <a:buFont typeface="Arial" pitchFamily="34" charset="0"/>
              <a:buChar char="•"/>
            </a:pPr>
            <a:endParaRPr lang="en-US" sz="2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7338" lvl="0" indent="-287338">
              <a:spcBef>
                <a:spcPct val="20000"/>
              </a:spcBef>
              <a:buFont typeface="Arial" pitchFamily="34" charset="0"/>
              <a:buChar char="•"/>
            </a:pPr>
            <a:endParaRPr lang="en-US" sz="2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</a:pPr>
            <a:endParaRPr lang="en-US" sz="2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5" name="rg_hi" descr="http://t0.gstatic.com/images?q=tbn:ANd9GcTo6XUIiBgeOs0XAqdYQhyggt6K_7S0fDwMomP221_i00OQUJ6pgw">
            <a:hlinkClick r:id="rId3"/>
          </p:cNvPr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29652" y="3454414"/>
            <a:ext cx="2590324" cy="19402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 descr="ETCO2CANNULA-0001_R2.jpg"/>
          <p:cNvPicPr>
            <a:picLocks noChangeAspect="1"/>
          </p:cNvPicPr>
          <p:nvPr/>
        </p:nvPicPr>
        <p:blipFill>
          <a:blip r:embed="rId5" cstate="print"/>
          <a:srcRect l="11195" t="4544" r="11662" b="5217"/>
          <a:stretch>
            <a:fillRect/>
          </a:stretch>
        </p:blipFill>
        <p:spPr>
          <a:xfrm>
            <a:off x="1793881" y="3339306"/>
            <a:ext cx="2084783" cy="2170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275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6254"/>
            <a:ext cx="8229600" cy="730071"/>
          </a:xfrm>
        </p:spPr>
        <p:txBody>
          <a:bodyPr>
            <a:normAutofit/>
          </a:bodyPr>
          <a:lstStyle/>
          <a:p>
            <a:r>
              <a:rPr lang="en-US" dirty="0" smtClean="0"/>
              <a:t>Air</a:t>
            </a:r>
            <a:r>
              <a:rPr lang="en-US" i="1" dirty="0" smtClean="0"/>
              <a:t>Life</a:t>
            </a:r>
            <a:r>
              <a:rPr lang="en-US" dirty="0" smtClean="0"/>
              <a:t> ETCO2 Cannulas:  Departments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076325"/>
            <a:ext cx="8413668" cy="4714875"/>
          </a:xfrm>
          <a:prstGeom prst="rect">
            <a:avLst/>
          </a:prstGeom>
        </p:spPr>
        <p:txBody>
          <a:bodyPr/>
          <a:lstStyle/>
          <a:p>
            <a:pPr marL="287338" indent="-287338"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2000" b="1" dirty="0" smtClean="0">
                <a:solidFill>
                  <a:schemeClr val="tx2"/>
                </a:solidFill>
              </a:rPr>
              <a:t>Who are your targets?</a:t>
            </a:r>
          </a:p>
          <a:p>
            <a:pPr marL="1588" indent="-1588">
              <a:spcBef>
                <a:spcPct val="20000"/>
              </a:spcBef>
              <a:defRPr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“A number of papers presented at the 2011 AARC Congress demonstrated that more RC departments are getting proactive by monitoring patients with capnography directed at preventing adverse events.”</a:t>
            </a:r>
            <a:r>
              <a:rPr lang="en-US" baseline="30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ritical Care Nursing</a:t>
            </a: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ost-Op Nursing</a:t>
            </a: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aterials Management</a:t>
            </a: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urgery Centers</a:t>
            </a: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esthesia Tech.</a:t>
            </a:r>
          </a:p>
          <a:p>
            <a:pPr marL="287338" indent="-287338">
              <a:spcBef>
                <a:spcPct val="20000"/>
              </a:spcBef>
              <a:defRPr/>
            </a:pPr>
            <a:endParaRPr lang="en-US" sz="16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7338" indent="-287338">
              <a:spcBef>
                <a:spcPct val="20000"/>
              </a:spcBef>
              <a:defRPr/>
            </a:pPr>
            <a:endParaRPr lang="en-US" sz="2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15888" indent="-115888">
              <a:spcBef>
                <a:spcPct val="20000"/>
              </a:spcBef>
              <a:defRPr/>
            </a:pPr>
            <a:endParaRPr lang="en-US" sz="1200" baseline="30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15888" indent="-115888">
              <a:spcBef>
                <a:spcPct val="20000"/>
              </a:spcBef>
              <a:defRPr/>
            </a:pPr>
            <a:endParaRPr lang="en-US" sz="1200" baseline="30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15888" indent="-115888">
              <a:spcBef>
                <a:spcPct val="20000"/>
              </a:spcBef>
              <a:defRPr/>
            </a:pPr>
            <a:endParaRPr lang="en-US" sz="1200" baseline="30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15888" indent="-115888">
              <a:spcBef>
                <a:spcPct val="20000"/>
              </a:spcBef>
              <a:defRPr/>
            </a:pPr>
            <a:endParaRPr lang="en-US" sz="1200" baseline="30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15888" indent="-115888">
              <a:spcBef>
                <a:spcPct val="20000"/>
              </a:spcBef>
              <a:defRPr/>
            </a:pPr>
            <a:endParaRPr lang="en-US" sz="1200" baseline="30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15888" indent="-115888">
              <a:spcBef>
                <a:spcPct val="20000"/>
              </a:spcBef>
              <a:defRPr/>
            </a:pPr>
            <a:r>
              <a:rPr lang="en-US" sz="1200" baseline="30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1 </a:t>
            </a: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T Magazine, </a:t>
            </a:r>
            <a:r>
              <a:rPr lang="en-US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spiratory Care Departments Take a Lead Role in Postoperative Monitoring</a:t>
            </a: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, Spratt, G. and Lain, D., Pg. 10, July 2012.</a:t>
            </a:r>
          </a:p>
          <a:p>
            <a:pPr marL="287338" indent="-287338">
              <a:spcBef>
                <a:spcPct val="20000"/>
              </a:spcBef>
              <a:defRPr/>
            </a:pP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6" name="Picture 5" descr="_44497937_archery512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041149" y="2225039"/>
            <a:ext cx="4297680" cy="2417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51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ETCO2CANNULA-0002_R2.jpg"/>
          <p:cNvPicPr>
            <a:picLocks noChangeAspect="1"/>
          </p:cNvPicPr>
          <p:nvPr/>
        </p:nvPicPr>
        <p:blipFill>
          <a:blip r:embed="rId3" cstate="print"/>
          <a:srcRect l="14623" r="11974" b="2832"/>
          <a:stretch>
            <a:fillRect/>
          </a:stretch>
        </p:blipFill>
        <p:spPr>
          <a:xfrm>
            <a:off x="5233069" y="1860877"/>
            <a:ext cx="3515081" cy="39319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6254"/>
            <a:ext cx="8229600" cy="698775"/>
          </a:xfrm>
        </p:spPr>
        <p:txBody>
          <a:bodyPr>
            <a:normAutofit/>
          </a:bodyPr>
          <a:lstStyle/>
          <a:p>
            <a:r>
              <a:rPr lang="en-US" dirty="0" smtClean="0"/>
              <a:t>Air</a:t>
            </a:r>
            <a:r>
              <a:rPr lang="en-US" i="1" dirty="0" smtClean="0"/>
              <a:t>Life</a:t>
            </a:r>
            <a:r>
              <a:rPr lang="en-US" dirty="0" smtClean="0"/>
              <a:t> ETCO</a:t>
            </a:r>
            <a:r>
              <a:rPr lang="en-US" baseline="-25000" dirty="0" smtClean="0"/>
              <a:t>2</a:t>
            </a:r>
            <a:r>
              <a:rPr lang="en-US" dirty="0" smtClean="0"/>
              <a:t> Sampling Cannula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045029"/>
            <a:ext cx="8229600" cy="4298867"/>
          </a:xfrm>
          <a:prstGeom prst="rect">
            <a:avLst/>
          </a:prstGeom>
        </p:spPr>
        <p:txBody>
          <a:bodyPr/>
          <a:lstStyle/>
          <a:p>
            <a:pPr marL="287338" indent="-287338">
              <a:spcBef>
                <a:spcPct val="20000"/>
              </a:spcBef>
            </a:pPr>
            <a:r>
              <a:rPr lang="en-US" sz="2000" b="1" dirty="0" smtClean="0">
                <a:solidFill>
                  <a:srgbClr val="3B6E8F"/>
                </a:solidFill>
              </a:rPr>
              <a:t>Design</a:t>
            </a:r>
          </a:p>
          <a:p>
            <a:pPr marL="287338" indent="-287338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dirty="0" err="1" smtClean="0">
                <a:solidFill>
                  <a:prstClr val="black"/>
                </a:solidFill>
              </a:rPr>
              <a:t>Air</a:t>
            </a:r>
            <a:r>
              <a:rPr lang="en-US" i="1" dirty="0" err="1" smtClean="0">
                <a:solidFill>
                  <a:prstClr val="black"/>
                </a:solidFill>
              </a:rPr>
              <a:t>Life</a:t>
            </a:r>
            <a:r>
              <a:rPr lang="en-US" i="1" dirty="0" smtClean="0">
                <a:solidFill>
                  <a:prstClr val="black"/>
                </a:solidFill>
              </a:rPr>
              <a:t> </a:t>
            </a:r>
            <a:r>
              <a:rPr lang="en-US" dirty="0" smtClean="0">
                <a:solidFill>
                  <a:prstClr val="black"/>
                </a:solidFill>
              </a:rPr>
              <a:t>cushion cannula – has a permanent barrier in the nose piece separating the nasal prongs</a:t>
            </a:r>
          </a:p>
          <a:p>
            <a:pPr marL="287338" indent="-287338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dirty="0" smtClean="0">
                <a:solidFill>
                  <a:prstClr val="black"/>
                </a:solidFill>
              </a:rPr>
              <a:t>Is a double tube design – one tube delivers oxygen from the source while the second tube connects to a ETCO</a:t>
            </a:r>
            <a:r>
              <a:rPr lang="en-US" baseline="-25000" dirty="0" smtClean="0">
                <a:solidFill>
                  <a:prstClr val="black"/>
                </a:solidFill>
              </a:rPr>
              <a:t>2 </a:t>
            </a:r>
            <a:r>
              <a:rPr lang="en-US" dirty="0" smtClean="0">
                <a:solidFill>
                  <a:prstClr val="black"/>
                </a:solidFill>
              </a:rPr>
              <a:t>monitor (capnography)</a:t>
            </a:r>
          </a:p>
          <a:p>
            <a:pPr marL="287338" indent="-287338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dirty="0" smtClean="0">
                <a:solidFill>
                  <a:prstClr val="black"/>
                </a:solidFill>
              </a:rPr>
              <a:t>Green oxygen tubing for easy identification</a:t>
            </a:r>
          </a:p>
          <a:p>
            <a:pPr marL="287338" indent="-287338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dirty="0" smtClean="0">
                <a:solidFill>
                  <a:prstClr val="black"/>
                </a:solidFill>
              </a:rPr>
              <a:t>ETCO</a:t>
            </a:r>
            <a:r>
              <a:rPr lang="en-US" baseline="-25000" dirty="0" smtClean="0">
                <a:solidFill>
                  <a:prstClr val="black"/>
                </a:solidFill>
              </a:rPr>
              <a:t>2 </a:t>
            </a:r>
            <a:r>
              <a:rPr lang="en-US" dirty="0" smtClean="0">
                <a:solidFill>
                  <a:prstClr val="black"/>
                </a:solidFill>
              </a:rPr>
              <a:t>sampling line contains either a male or female </a:t>
            </a:r>
            <a:r>
              <a:rPr lang="en-US" dirty="0" err="1" smtClean="0">
                <a:solidFill>
                  <a:prstClr val="black"/>
                </a:solidFill>
              </a:rPr>
              <a:t>Luer-Lok</a:t>
            </a:r>
            <a:r>
              <a:rPr lang="en-US" dirty="0" smtClean="0">
                <a:solidFill>
                  <a:prstClr val="black"/>
                </a:solidFill>
              </a:rPr>
              <a:t>™ connector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 smtClean="0">
                <a:solidFill>
                  <a:prstClr val="black"/>
                </a:solidFill>
              </a:rPr>
              <a:t>                      </a:t>
            </a:r>
          </a:p>
          <a:p>
            <a:pPr marL="287338" indent="-287338">
              <a:spcBef>
                <a:spcPts val="600"/>
              </a:spcBef>
              <a:spcAft>
                <a:spcPts val="600"/>
              </a:spcAft>
            </a:pPr>
            <a:r>
              <a:rPr lang="en-US" sz="2000" dirty="0" smtClean="0">
                <a:solidFill>
                  <a:prstClr val="black"/>
                </a:solidFill>
              </a:rPr>
              <a:t> </a:t>
            </a: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</a:pPr>
            <a:endParaRPr lang="en-US" sz="2000" dirty="0" smtClean="0">
              <a:solidFill>
                <a:prstClr val="black"/>
              </a:solidFill>
            </a:endParaRPr>
          </a:p>
          <a:p>
            <a:pPr marL="287338" indent="-287338">
              <a:spcBef>
                <a:spcPct val="20000"/>
              </a:spcBef>
              <a:defRPr/>
            </a:pPr>
            <a:endParaRPr lang="en-US" sz="2000" dirty="0" smtClean="0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08065" y="6475655"/>
            <a:ext cx="4493623" cy="229235"/>
          </a:xfrm>
        </p:spPr>
        <p:txBody>
          <a:bodyPr/>
          <a:lstStyle/>
          <a:p>
            <a:r>
              <a:rPr lang="en-US" sz="700" dirty="0" smtClean="0">
                <a:solidFill>
                  <a:prstClr val="black"/>
                </a:solidFill>
              </a:rPr>
              <a:t>© 2013 CareFusion Corporation or one of its subsidiaries. All rights reserved.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3780227"/>
              </p:ext>
            </p:extLst>
          </p:nvPr>
        </p:nvGraphicFramePr>
        <p:xfrm>
          <a:off x="746089" y="4042606"/>
          <a:ext cx="4181294" cy="144873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42158"/>
                <a:gridCol w="3039136"/>
              </a:tblGrid>
              <a:tr h="4829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sng" strike="noStrike" dirty="0">
                          <a:effectLst/>
                        </a:rPr>
                        <a:t>Code </a:t>
                      </a:r>
                      <a:endParaRPr lang="en-US" sz="1400" b="1" i="0" u="sng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sng" strike="noStrike" dirty="0">
                          <a:effectLst/>
                        </a:rPr>
                        <a:t>Description</a:t>
                      </a:r>
                      <a:endParaRPr lang="en-US" sz="1400" b="1" i="0" u="sng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4829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effectLst/>
                        </a:rPr>
                        <a:t>2812M-1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dirty="0">
                          <a:effectLst/>
                        </a:rPr>
                        <a:t>ETCO2 CANNULA 7', ADULT, MALE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4829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 smtClean="0">
                          <a:effectLst/>
                        </a:rPr>
                        <a:t>2812F-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effectLst/>
                        </a:rPr>
                        <a:t>ETC02 CANNULA </a:t>
                      </a:r>
                      <a:r>
                        <a:rPr lang="en-US" sz="1200" b="0" u="none" strike="noStrike" dirty="0" smtClean="0">
                          <a:effectLst/>
                        </a:rPr>
                        <a:t>7‘,  ADULT,</a:t>
                      </a:r>
                      <a:r>
                        <a:rPr lang="en-US" sz="1200" b="0" u="none" strike="noStrike" baseline="0" dirty="0" smtClean="0">
                          <a:effectLst/>
                        </a:rPr>
                        <a:t> </a:t>
                      </a:r>
                      <a:r>
                        <a:rPr lang="en-US" sz="1200" b="0" u="none" strike="noStrike" dirty="0" smtClean="0">
                          <a:effectLst/>
                        </a:rPr>
                        <a:t>FEMAL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114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w ETCO2 Cannula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39</a:t>
            </a:fld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1310136"/>
              </p:ext>
            </p:extLst>
          </p:nvPr>
        </p:nvGraphicFramePr>
        <p:xfrm>
          <a:off x="615339" y="1417639"/>
          <a:ext cx="8066437" cy="2028942"/>
        </p:xfrm>
        <a:graphic>
          <a:graphicData uri="http://schemas.openxmlformats.org/drawingml/2006/table">
            <a:tbl>
              <a:tblPr/>
              <a:tblGrid>
                <a:gridCol w="781382"/>
                <a:gridCol w="5828044"/>
                <a:gridCol w="1457011"/>
              </a:tblGrid>
              <a:tr h="225438"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KU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duct descript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# Languag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38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02M-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diatric ETCO2 Cannula with 2.1m (7') O2 tubing, 2.1m (7') CO2 tubing With male luer connector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38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11M-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ult ETCO2 Cannula with 2.1m (7') O2 tubing, 2.1m (7') CO2 tubing With male luer connector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38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12M-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ult  ETCO2 Cannula with 2.1m (7') O2 tubing, 2.1m (7') CO2 tubing With male luer connector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38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02F-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diatric with 7' O2 tubing, 7' CO2 tubing With female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uer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connector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38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11F-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ult ETCO2 Cannula with 7' O2 tubing, 2" CO2 tubing With female luer connector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38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12F-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ult ETCO2 Cannula with 7' O2 tubing, 7' CO2 tubing With female luer connector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38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M2F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TCO2 sampling line 10', male-to-male luer connector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38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M2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TCO2 sampling line 10', male-to-female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uer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connector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3966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>
          <a:xfrm>
            <a:off x="336620" y="210178"/>
            <a:ext cx="8229600" cy="1066800"/>
          </a:xfrm>
        </p:spPr>
        <p:txBody>
          <a:bodyPr anchor="ctr">
            <a:normAutofit/>
          </a:bodyPr>
          <a:lstStyle/>
          <a:p>
            <a:pPr eaLnBrk="1" hangingPunct="1"/>
            <a:r>
              <a:rPr lang="en-US" alt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Nasal Cannula</a:t>
            </a:r>
          </a:p>
        </p:txBody>
      </p:sp>
      <p:sp>
        <p:nvSpPr>
          <p:cNvPr id="12291" name="Rectangle 7"/>
          <p:cNvSpPr>
            <a:spLocks noGrp="1" noChangeArrowheads="1"/>
          </p:cNvSpPr>
          <p:nvPr>
            <p:ph type="body" sz="half" idx="1"/>
          </p:nvPr>
        </p:nvSpPr>
        <p:spPr>
          <a:xfrm>
            <a:off x="422029" y="1276978"/>
            <a:ext cx="4749739" cy="5114611"/>
          </a:xfrm>
        </p:spPr>
        <p:txBody>
          <a:bodyPr>
            <a:noAutofit/>
          </a:bodyPr>
          <a:lstStyle/>
          <a:p>
            <a:pPr eaLnBrk="1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/>
            </a:pPr>
            <a:r>
              <a:rPr lang="en-US" sz="1200" dirty="0" smtClean="0"/>
              <a:t>Used for low-medium concentrations of O2</a:t>
            </a:r>
          </a:p>
          <a:p>
            <a:pPr eaLnBrk="1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/>
            </a:pPr>
            <a:r>
              <a:rPr lang="en-US" sz="1200" dirty="0" smtClean="0"/>
              <a:t>Simple</a:t>
            </a:r>
          </a:p>
          <a:p>
            <a:pPr eaLnBrk="1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/>
            </a:pPr>
            <a:r>
              <a:rPr lang="en-US" sz="1200" dirty="0" smtClean="0"/>
              <a:t>Can use continuously with meals and activity</a:t>
            </a:r>
          </a:p>
          <a:p>
            <a:pPr eaLnBrk="1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/>
            </a:pPr>
            <a:r>
              <a:rPr lang="en-US" sz="1200" dirty="0" smtClean="0"/>
              <a:t>Flow rates in excess of 4L cause drying and irritation</a:t>
            </a:r>
          </a:p>
          <a:p>
            <a:pPr eaLnBrk="1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/>
            </a:pPr>
            <a:r>
              <a:rPr lang="en-US" sz="1200" dirty="0" smtClean="0"/>
              <a:t>Depth and rate of breathing affect amount of O2 reaching lungs</a:t>
            </a:r>
          </a:p>
          <a:p>
            <a:pPr eaLnBrk="1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/>
            </a:pPr>
            <a:r>
              <a:rPr lang="en-US" sz="1200" dirty="0" smtClean="0"/>
              <a:t>adults </a:t>
            </a:r>
            <a:r>
              <a:rPr lang="en-US" sz="1200" dirty="0" smtClean="0">
                <a:sym typeface="Kip_Resp" pitchFamily="18" charset="2"/>
              </a:rPr>
              <a:t> 6 LPM</a:t>
            </a:r>
            <a:endParaRPr lang="en-US" sz="1200" dirty="0" smtClean="0"/>
          </a:p>
          <a:p>
            <a:pPr eaLnBrk="1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/>
            </a:pPr>
            <a:r>
              <a:rPr lang="en-US" sz="1200" dirty="0" smtClean="0"/>
              <a:t>infants/toddlers </a:t>
            </a:r>
            <a:r>
              <a:rPr lang="en-US" sz="1200" dirty="0" smtClean="0">
                <a:sym typeface="Kip_Resp" pitchFamily="18" charset="2"/>
              </a:rPr>
              <a:t> 2 LPM</a:t>
            </a:r>
            <a:r>
              <a:rPr lang="en-US" sz="1200" dirty="0" smtClean="0"/>
              <a:t> </a:t>
            </a:r>
          </a:p>
          <a:p>
            <a:pPr eaLnBrk="1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/>
            </a:pPr>
            <a:r>
              <a:rPr lang="en-US" sz="1200" dirty="0" smtClean="0"/>
              <a:t>children </a:t>
            </a:r>
            <a:r>
              <a:rPr lang="en-US" sz="1200" dirty="0" smtClean="0">
                <a:sym typeface="Kip_Resp" pitchFamily="18" charset="2"/>
              </a:rPr>
              <a:t> 3 LPM</a:t>
            </a:r>
            <a:endParaRPr lang="en-US" sz="1200" dirty="0" smtClean="0"/>
          </a:p>
          <a:p>
            <a:pPr eaLnBrk="1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/>
            </a:pPr>
            <a:r>
              <a:rPr lang="en-US" sz="1200" dirty="0" smtClean="0"/>
              <a:t>FIO</a:t>
            </a:r>
            <a:r>
              <a:rPr lang="en-US" sz="1200" baseline="-25000" dirty="0" smtClean="0"/>
              <a:t>2</a:t>
            </a:r>
            <a:r>
              <a:rPr lang="en-US" sz="1200" dirty="0" smtClean="0"/>
              <a:t> is not affected by mouth breathing</a:t>
            </a:r>
            <a:endParaRPr lang="en-US" sz="1200" b="1" dirty="0" smtClean="0"/>
          </a:p>
          <a:p>
            <a:pPr eaLnBrk="1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defRPr/>
            </a:pPr>
            <a:endParaRPr lang="en-US" sz="1200" b="1" dirty="0" smtClean="0">
              <a:solidFill>
                <a:srgbClr val="FF0000"/>
              </a:solidFill>
            </a:endParaRPr>
          </a:p>
          <a:p>
            <a:pPr marL="0" indent="0" eaLnBrk="1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n-US" sz="1200" b="1" dirty="0" smtClean="0">
                <a:solidFill>
                  <a:schemeClr val="tx2"/>
                </a:solidFill>
              </a:rPr>
              <a:t>The Cannula Provides:</a:t>
            </a:r>
            <a:endParaRPr lang="en-US" sz="1200" b="1" dirty="0">
              <a:solidFill>
                <a:schemeClr val="tx2"/>
              </a:solidFill>
            </a:endParaRPr>
          </a:p>
          <a:p>
            <a:pPr eaLnBrk="1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1200" b="1" dirty="0" smtClean="0">
                <a:solidFill>
                  <a:schemeClr val="tx2"/>
                </a:solidFill>
              </a:rPr>
              <a:t>1L O2 = FIO2  	4%</a:t>
            </a:r>
          </a:p>
          <a:p>
            <a:pPr eaLnBrk="1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1200" b="1" dirty="0" smtClean="0">
                <a:solidFill>
                  <a:schemeClr val="tx2"/>
                </a:solidFill>
              </a:rPr>
              <a:t>6 </a:t>
            </a:r>
            <a:r>
              <a:rPr lang="en-US" sz="1200" b="1" dirty="0">
                <a:solidFill>
                  <a:schemeClr val="tx2"/>
                </a:solidFill>
              </a:rPr>
              <a:t>L</a:t>
            </a:r>
            <a:r>
              <a:rPr lang="en-US" sz="1200" b="1" dirty="0" smtClean="0">
                <a:solidFill>
                  <a:schemeClr val="tx2"/>
                </a:solidFill>
              </a:rPr>
              <a:t> O2= FiO2 	24%</a:t>
            </a:r>
          </a:p>
          <a:p>
            <a:pPr marL="0" indent="0" eaLnBrk="1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sz="1200" b="1" dirty="0">
              <a:solidFill>
                <a:schemeClr val="tx2"/>
              </a:solidFill>
            </a:endParaRPr>
          </a:p>
          <a:p>
            <a:pPr marL="0" indent="0" eaLnBrk="1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n-US" sz="1200" b="1" dirty="0" smtClean="0">
                <a:solidFill>
                  <a:schemeClr val="tx2"/>
                </a:solidFill>
              </a:rPr>
              <a:t>Room air Contains 21% Oxygen, therefore: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1200" b="1" dirty="0" smtClean="0">
                <a:solidFill>
                  <a:schemeClr val="tx2"/>
                </a:solidFill>
              </a:rPr>
              <a:t>1lt O2 = FIO2 	25%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1200" b="1" dirty="0" smtClean="0">
                <a:solidFill>
                  <a:schemeClr val="tx2"/>
                </a:solidFill>
              </a:rPr>
              <a:t>6L O2 = FiO2	45%</a:t>
            </a:r>
            <a:endParaRPr lang="en-US" sz="1200" b="1" dirty="0">
              <a:solidFill>
                <a:schemeClr val="tx2"/>
              </a:solidFill>
            </a:endParaRPr>
          </a:p>
        </p:txBody>
      </p:sp>
      <p:pic>
        <p:nvPicPr>
          <p:cNvPr id="4098" name="Picture 2" descr="http://www.carefusion.com/assets/images/our-products/respiratory-care/airlife-products/oxygen-cannulas_1_2812M-10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99" r="11651"/>
          <a:stretch/>
        </p:blipFill>
        <p:spPr bwMode="auto">
          <a:xfrm>
            <a:off x="5171768" y="1377293"/>
            <a:ext cx="3519950" cy="2333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5036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6254"/>
            <a:ext cx="8229600" cy="730071"/>
          </a:xfrm>
        </p:spPr>
        <p:txBody>
          <a:bodyPr>
            <a:normAutofit/>
          </a:bodyPr>
          <a:lstStyle/>
          <a:p>
            <a:r>
              <a:rPr lang="en-US" dirty="0"/>
              <a:t>Air</a:t>
            </a:r>
            <a:r>
              <a:rPr lang="en-US" i="1" dirty="0"/>
              <a:t>Life</a:t>
            </a:r>
            <a:r>
              <a:rPr lang="en-US" dirty="0"/>
              <a:t> ETCO2 </a:t>
            </a:r>
            <a:r>
              <a:rPr lang="en-US" dirty="0" smtClean="0"/>
              <a:t>Cannulas: Compatibility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0609" y="1560266"/>
            <a:ext cx="3517900" cy="393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ontent Placeholder 2"/>
          <p:cNvSpPr txBox="1">
            <a:spLocks/>
          </p:cNvSpPr>
          <p:nvPr/>
        </p:nvSpPr>
        <p:spPr>
          <a:xfrm>
            <a:off x="296883" y="1076325"/>
            <a:ext cx="8538359" cy="4416178"/>
          </a:xfrm>
          <a:prstGeom prst="rect">
            <a:avLst/>
          </a:prstGeom>
        </p:spPr>
        <p:txBody>
          <a:bodyPr/>
          <a:lstStyle/>
          <a:p>
            <a:pPr marL="1588" marR="0" lvl="0" indent="-15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400" b="1" noProof="0" dirty="0" smtClean="0">
                <a:solidFill>
                  <a:srgbClr val="3B6E8F"/>
                </a:solidFill>
              </a:rPr>
              <a:t>Which manufacturers’ monitors will accept our ETCO</a:t>
            </a:r>
            <a:r>
              <a:rPr lang="en-US" sz="2400" b="1" baseline="-25000" noProof="0" dirty="0" smtClean="0">
                <a:solidFill>
                  <a:srgbClr val="3B6E8F"/>
                </a:solidFill>
              </a:rPr>
              <a:t>2</a:t>
            </a:r>
            <a:r>
              <a:rPr lang="en-US" sz="2400" b="1" noProof="0" dirty="0" smtClean="0">
                <a:solidFill>
                  <a:srgbClr val="3B6E8F"/>
                </a:solidFill>
              </a:rPr>
              <a:t> cannulas?*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3B6E8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87338" lvl="0" indent="-287338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err="1" smtClean="0"/>
              <a:t>BCi</a:t>
            </a:r>
            <a:r>
              <a:rPr lang="en-US" sz="2000" dirty="0" smtClean="0"/>
              <a:t>			</a:t>
            </a:r>
          </a:p>
          <a:p>
            <a:pPr marL="287338" lvl="0" indent="-287338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err="1" smtClean="0"/>
              <a:t>Datascope</a:t>
            </a:r>
            <a:endParaRPr lang="en-US" sz="2000" dirty="0" smtClean="0"/>
          </a:p>
          <a:p>
            <a:pPr marL="287338" lvl="0" indent="-287338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err="1" smtClean="0"/>
              <a:t>Datex-Ohmeda</a:t>
            </a:r>
            <a:endParaRPr lang="en-US" sz="2000" dirty="0" smtClean="0"/>
          </a:p>
          <a:p>
            <a:pPr marL="287338" lvl="0" indent="-287338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smtClean="0"/>
              <a:t>GE Marquette</a:t>
            </a:r>
          </a:p>
          <a:p>
            <a:pPr marL="287338" lvl="0" indent="-287338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err="1" smtClean="0"/>
              <a:t>Invivo</a:t>
            </a:r>
            <a:r>
              <a:rPr lang="en-US" sz="2000" dirty="0" smtClean="0"/>
              <a:t> Research</a:t>
            </a:r>
          </a:p>
          <a:p>
            <a:pPr marL="287338" lvl="0" indent="-287338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smtClean="0"/>
              <a:t>Philips Healthcare</a:t>
            </a:r>
          </a:p>
          <a:p>
            <a:pPr marL="287338" lvl="0" indent="-287338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err="1" smtClean="0"/>
              <a:t>Physio</a:t>
            </a:r>
            <a:r>
              <a:rPr lang="en-US" sz="2000" dirty="0" smtClean="0"/>
              <a:t>-control</a:t>
            </a:r>
          </a:p>
          <a:p>
            <a:pPr marL="287338" lvl="0" indent="-287338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err="1" smtClean="0"/>
              <a:t>Nonin</a:t>
            </a:r>
            <a:endParaRPr lang="en-US" sz="2000" dirty="0" smtClean="0"/>
          </a:p>
          <a:p>
            <a:pPr marL="1588" lvl="0" indent="-1588">
              <a:spcBef>
                <a:spcPct val="20000"/>
              </a:spcBef>
            </a:pP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en-US" sz="2000" dirty="0" smtClean="0"/>
              <a:t>As long as the monitor accepts a male or female </a:t>
            </a:r>
            <a:r>
              <a:rPr lang="en-US" sz="2000" dirty="0" err="1" smtClean="0"/>
              <a:t>Luer-Lok</a:t>
            </a:r>
            <a:r>
              <a:rPr lang="en-US" sz="2000" dirty="0" smtClean="0"/>
              <a:t> connection, the Air</a:t>
            </a:r>
            <a:r>
              <a:rPr lang="en-US" sz="2000" i="1" dirty="0" smtClean="0"/>
              <a:t>Life</a:t>
            </a:r>
            <a:r>
              <a:rPr lang="en-US" sz="2000" dirty="0" smtClean="0"/>
              <a:t> ETCO</a:t>
            </a:r>
            <a:r>
              <a:rPr lang="en-US" sz="2000" baseline="-25000" dirty="0" smtClean="0"/>
              <a:t>2</a:t>
            </a:r>
            <a:r>
              <a:rPr lang="en-US" sz="2000" dirty="0" smtClean="0"/>
              <a:t> Sampling Cannula can be used.</a:t>
            </a:r>
          </a:p>
          <a:p>
            <a:pPr>
              <a:spcBef>
                <a:spcPct val="20000"/>
              </a:spcBef>
            </a:pP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en-US" sz="1400" dirty="0" smtClean="0"/>
              <a:t>*Partial list; Isn’t </a:t>
            </a:r>
            <a:r>
              <a:rPr lang="en-US" sz="1400" dirty="0"/>
              <a:t>necessarily </a:t>
            </a:r>
            <a:r>
              <a:rPr lang="en-US" sz="1400" dirty="0" smtClean="0"/>
              <a:t>compatible with </a:t>
            </a:r>
            <a:r>
              <a:rPr lang="en-US" sz="1400" dirty="0"/>
              <a:t>all </a:t>
            </a:r>
            <a:r>
              <a:rPr lang="en-US" sz="1400" dirty="0" smtClean="0"/>
              <a:t>styles/products offered </a:t>
            </a:r>
            <a:r>
              <a:rPr lang="en-US" sz="1400" dirty="0"/>
              <a:t>by these </a:t>
            </a:r>
            <a:r>
              <a:rPr lang="en-US" sz="1400" dirty="0" smtClean="0"/>
              <a:t>vendor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4319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6254"/>
            <a:ext cx="8229600" cy="730071"/>
          </a:xfrm>
        </p:spPr>
        <p:txBody>
          <a:bodyPr>
            <a:normAutofit/>
          </a:bodyPr>
          <a:lstStyle/>
          <a:p>
            <a:r>
              <a:rPr lang="en-US" dirty="0"/>
              <a:t>Air</a:t>
            </a:r>
            <a:r>
              <a:rPr lang="en-US" i="1" dirty="0"/>
              <a:t>Life</a:t>
            </a:r>
            <a:r>
              <a:rPr lang="en-US" dirty="0"/>
              <a:t> ETCO2 </a:t>
            </a:r>
            <a:r>
              <a:rPr lang="en-US" dirty="0" smtClean="0"/>
              <a:t>Cannulas: Compatibility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199" y="1143066"/>
            <a:ext cx="8229601" cy="5063218"/>
          </a:xfrm>
          <a:prstGeom prst="rect">
            <a:avLst/>
          </a:prstGeom>
        </p:spPr>
        <p:txBody>
          <a:bodyPr/>
          <a:lstStyle/>
          <a:p>
            <a:pPr marL="1588" marR="0" lvl="0" indent="-15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B6E8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hich monitors won’t accept</a:t>
            </a:r>
            <a:r>
              <a:rPr kumimoji="0" lang="en-US" sz="2400" b="1" i="0" u="none" strike="noStrike" kern="1200" cap="none" spc="0" normalizeH="0" noProof="0" dirty="0" smtClean="0">
                <a:ln>
                  <a:noFill/>
                </a:ln>
                <a:solidFill>
                  <a:srgbClr val="3B6E8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our ETCO</a:t>
            </a:r>
            <a:r>
              <a:rPr kumimoji="0" lang="en-US" sz="2400" b="1" i="0" u="none" strike="noStrike" kern="1200" cap="none" spc="0" normalizeH="0" baseline="-25000" noProof="0" dirty="0" smtClean="0">
                <a:ln>
                  <a:noFill/>
                </a:ln>
                <a:solidFill>
                  <a:srgbClr val="3B6E8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</a:t>
            </a:r>
            <a:r>
              <a:rPr kumimoji="0" lang="en-US" sz="2400" b="1" i="0" u="none" strike="noStrike" kern="1200" cap="none" spc="0" normalizeH="0" noProof="0" dirty="0" smtClean="0">
                <a:ln>
                  <a:noFill/>
                </a:ln>
                <a:solidFill>
                  <a:srgbClr val="3B6E8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annulas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B6E8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?</a:t>
            </a:r>
          </a:p>
          <a:p>
            <a:pPr marL="287338" lvl="0" indent="-287338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err="1" smtClean="0"/>
              <a:t>Oridion</a:t>
            </a:r>
            <a:r>
              <a:rPr lang="en-US" sz="2000" dirty="0" smtClean="0"/>
              <a:t> monitors have a proprietary fitting for the ETCO</a:t>
            </a:r>
            <a:r>
              <a:rPr lang="en-US" sz="2000" baseline="-25000" dirty="0" smtClean="0"/>
              <a:t>2</a:t>
            </a:r>
            <a:r>
              <a:rPr lang="en-US" sz="2000" dirty="0" smtClean="0"/>
              <a:t> cannula; </a:t>
            </a:r>
            <a:r>
              <a:rPr lang="en-US" sz="2000" dirty="0" err="1" smtClean="0"/>
              <a:t>Oridion</a:t>
            </a:r>
            <a:r>
              <a:rPr lang="en-US" sz="2000" dirty="0" smtClean="0"/>
              <a:t> monitors will only accept an </a:t>
            </a:r>
            <a:r>
              <a:rPr lang="en-US" sz="2000" dirty="0" err="1" smtClean="0"/>
              <a:t>Oridion</a:t>
            </a:r>
            <a:r>
              <a:rPr lang="en-US" sz="2000" dirty="0" smtClean="0"/>
              <a:t> cannula </a:t>
            </a:r>
            <a:br>
              <a:rPr lang="en-US" sz="2000" dirty="0" smtClean="0"/>
            </a:br>
            <a:r>
              <a:rPr lang="en-US" dirty="0" smtClean="0"/>
              <a:t>(e.g. </a:t>
            </a:r>
            <a:r>
              <a:rPr lang="en-US" dirty="0" err="1" smtClean="0"/>
              <a:t>Capnostream</a:t>
            </a:r>
            <a:r>
              <a:rPr lang="en-US" dirty="0" smtClean="0"/>
              <a:t>, </a:t>
            </a:r>
            <a:r>
              <a:rPr lang="en-US" dirty="0" err="1" smtClean="0"/>
              <a:t>Microstream</a:t>
            </a:r>
            <a:r>
              <a:rPr lang="en-US" dirty="0" smtClean="0"/>
              <a:t>, Microcap, </a:t>
            </a:r>
            <a:r>
              <a:rPr lang="en-US" dirty="0" err="1" smtClean="0"/>
              <a:t>Omnistream</a:t>
            </a:r>
            <a:r>
              <a:rPr lang="en-US" dirty="0" smtClean="0"/>
              <a:t>, </a:t>
            </a:r>
            <a:r>
              <a:rPr lang="en-US" dirty="0" err="1" smtClean="0"/>
              <a:t>Surestream</a:t>
            </a:r>
            <a:r>
              <a:rPr lang="en-US" dirty="0" smtClean="0"/>
              <a:t>, </a:t>
            </a:r>
            <a:r>
              <a:rPr lang="en-US" dirty="0" err="1" smtClean="0"/>
              <a:t>FilterLine</a:t>
            </a:r>
            <a:r>
              <a:rPr lang="en-US" dirty="0" smtClean="0"/>
              <a:t>)</a:t>
            </a:r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 descr="closed">
            <a:hlinkClick r:id="rId3"/>
          </p:cNvPr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771" y="4008458"/>
            <a:ext cx="2274125" cy="1510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6" descr="Luer Connections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028760" y="3748628"/>
            <a:ext cx="2205841" cy="1644992"/>
          </a:xfrm>
          <a:prstGeom prst="rect">
            <a:avLst/>
          </a:prstGeom>
          <a:noFill/>
        </p:spPr>
      </p:pic>
      <p:pic>
        <p:nvPicPr>
          <p:cNvPr id="8" name="Picture 7" descr="Oridion-connector.jpg"/>
          <p:cNvPicPr/>
          <p:nvPr/>
        </p:nvPicPr>
        <p:blipFill>
          <a:blip r:embed="rId6" cstate="print"/>
          <a:srcRect l="17596" t="37067"/>
          <a:stretch>
            <a:fillRect/>
          </a:stretch>
        </p:blipFill>
        <p:spPr bwMode="auto">
          <a:xfrm>
            <a:off x="3496575" y="2727180"/>
            <a:ext cx="2195080" cy="1644992"/>
          </a:xfrm>
          <a:prstGeom prst="rect">
            <a:avLst/>
          </a:prstGeom>
          <a:noFill/>
        </p:spPr>
      </p:pic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08065" y="6466114"/>
            <a:ext cx="4493623" cy="229235"/>
          </a:xfrm>
        </p:spPr>
        <p:txBody>
          <a:bodyPr/>
          <a:lstStyle/>
          <a:p>
            <a:r>
              <a:rPr lang="en-US" sz="700" dirty="0" smtClean="0"/>
              <a:t>© 2013 CareFusion Corporation or one of its subsidiar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80998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8615" b="23624"/>
          <a:stretch/>
        </p:blipFill>
        <p:spPr>
          <a:xfrm>
            <a:off x="2362200" y="4129282"/>
            <a:ext cx="4197882" cy="15036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RESCAPE™ ETCO</a:t>
            </a:r>
            <a:r>
              <a:rPr lang="en-US" baseline="-25000" dirty="0" smtClean="0"/>
              <a:t>2</a:t>
            </a:r>
            <a:r>
              <a:rPr lang="en-US" dirty="0" smtClean="0"/>
              <a:t> Cannulas: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438602" y="1489254"/>
            <a:ext cx="8361862" cy="2523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Private label manufactured by Uno Medical</a:t>
            </a:r>
            <a:endParaRPr lang="en-US" sz="2000" baseline="-25000" dirty="0" smtClean="0">
              <a:solidFill>
                <a:prstClr val="black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000" dirty="0">
              <a:solidFill>
                <a:prstClr val="black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O</a:t>
            </a:r>
            <a:r>
              <a:rPr lang="en-US" sz="2000" baseline="-25000" dirty="0" smtClean="0">
                <a:solidFill>
                  <a:prstClr val="black"/>
                </a:solidFill>
              </a:rPr>
              <a:t>2 </a:t>
            </a:r>
            <a:r>
              <a:rPr lang="en-US" sz="2000" dirty="0">
                <a:solidFill>
                  <a:prstClr val="black"/>
                </a:solidFill>
              </a:rPr>
              <a:t>delivered &amp; CO</a:t>
            </a:r>
            <a:r>
              <a:rPr lang="en-US" sz="2000" baseline="-25000" dirty="0">
                <a:solidFill>
                  <a:prstClr val="black"/>
                </a:solidFill>
              </a:rPr>
              <a:t>2</a:t>
            </a:r>
            <a:r>
              <a:rPr lang="en-US" sz="2000" dirty="0">
                <a:solidFill>
                  <a:prstClr val="black"/>
                </a:solidFill>
              </a:rPr>
              <a:t> sampled from independent pathways/tubes</a:t>
            </a:r>
            <a:endParaRPr lang="en-US" sz="2000" baseline="-25000" dirty="0">
              <a:solidFill>
                <a:prstClr val="black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prstClr val="black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Available </a:t>
            </a:r>
            <a:r>
              <a:rPr lang="en-US" sz="2000" dirty="0">
                <a:solidFill>
                  <a:prstClr val="black"/>
                </a:solidFill>
              </a:rPr>
              <a:t>in adult and pediatric </a:t>
            </a:r>
            <a:r>
              <a:rPr lang="en-US" sz="2000" dirty="0" smtClean="0">
                <a:solidFill>
                  <a:prstClr val="black"/>
                </a:solidFill>
              </a:rPr>
              <a:t>sizes</a:t>
            </a:r>
            <a:br>
              <a:rPr lang="en-US" sz="2000" dirty="0" smtClean="0">
                <a:solidFill>
                  <a:prstClr val="black"/>
                </a:solidFill>
              </a:rPr>
            </a:br>
            <a:r>
              <a:rPr lang="en-US" sz="2000" dirty="0" smtClean="0">
                <a:solidFill>
                  <a:prstClr val="black"/>
                </a:solidFill>
              </a:rPr>
              <a:t>  </a:t>
            </a:r>
            <a:endParaRPr lang="en-US" sz="2000" dirty="0">
              <a:solidFill>
                <a:prstClr val="black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Compatibility tested with </a:t>
            </a:r>
            <a:r>
              <a:rPr lang="en-US" sz="2000" dirty="0" smtClean="0">
                <a:solidFill>
                  <a:prstClr val="black"/>
                </a:solidFill>
              </a:rPr>
              <a:t>GE </a:t>
            </a:r>
            <a:r>
              <a:rPr lang="en-US" sz="2000" dirty="0">
                <a:solidFill>
                  <a:prstClr val="black"/>
                </a:solidFill>
              </a:rPr>
              <a:t>CARESCAPE</a:t>
            </a:r>
            <a:r>
              <a:rPr lang="en-US" sz="2000" dirty="0" smtClean="0">
                <a:solidFill>
                  <a:prstClr val="black"/>
                </a:solidFill>
              </a:rPr>
              <a:t> </a:t>
            </a:r>
            <a:r>
              <a:rPr lang="en-US" sz="2000" dirty="0">
                <a:solidFill>
                  <a:prstClr val="black"/>
                </a:solidFill>
              </a:rPr>
              <a:t>respiratory </a:t>
            </a:r>
            <a:r>
              <a:rPr lang="en-US" sz="2000" dirty="0" smtClean="0">
                <a:solidFill>
                  <a:prstClr val="black"/>
                </a:solidFill>
              </a:rPr>
              <a:t>modules</a:t>
            </a:r>
            <a:endParaRPr lang="en-US" sz="1400" baseline="75000" dirty="0">
              <a:solidFill>
                <a:prstClr val="black"/>
              </a:solidFill>
            </a:endParaRPr>
          </a:p>
          <a:p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71223" y="6564541"/>
            <a:ext cx="7826829" cy="2000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B6B8BA"/>
                </a:solidFill>
                <a:effectLst/>
                <a:uLnTx/>
                <a:uFillTx/>
                <a:latin typeface="Verdana"/>
                <a:ea typeface="맑은 고딕"/>
              </a:defRPr>
            </a:lvl1pPr>
          </a:lstStyle>
          <a:p>
            <a:pPr>
              <a:defRPr/>
            </a:pPr>
            <a:r>
              <a:rPr lang="en-US" kern="0" dirty="0" smtClean="0"/>
              <a:t>©2014 </a:t>
            </a:r>
            <a:r>
              <a:rPr lang="en-US" kern="0" dirty="0" err="1" smtClean="0"/>
              <a:t>CareFusion</a:t>
            </a:r>
            <a:r>
              <a:rPr lang="en-US" kern="0" dirty="0" smtClean="0"/>
              <a:t> Corporation of one of its subsidiaries. All rights reserved. GE CARESCAPE is a registered trademark of the General Electric Co.</a:t>
            </a:r>
          </a:p>
        </p:txBody>
      </p:sp>
      <p:sp>
        <p:nvSpPr>
          <p:cNvPr id="5" name="Rectangle 4"/>
          <p:cNvSpPr/>
          <p:nvPr/>
        </p:nvSpPr>
        <p:spPr>
          <a:xfrm rot="19692988">
            <a:off x="1686400" y="3016809"/>
            <a:ext cx="5549480" cy="761361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3600" dirty="0" smtClean="0">
                <a:solidFill>
                  <a:schemeClr val="bg1"/>
                </a:solidFill>
              </a:rPr>
              <a:t>End of Life</a:t>
            </a:r>
            <a:endParaRPr lang="en-GB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0994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?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0" y="6500813"/>
            <a:ext cx="649288" cy="209550"/>
          </a:xfrm>
        </p:spPr>
        <p:txBody>
          <a:bodyPr/>
          <a:lstStyle/>
          <a:p>
            <a:fld id="{5ABBDE47-A11E-FE42-85BD-DB007C88386C}" type="slidenum">
              <a:rPr lang="en-US" smtClean="0"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717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GB" sz="2800" dirty="0" smtClean="0">
                <a:latin typeface="+mj-lt"/>
              </a:rPr>
              <a:t>Utilising Nasal Cannula </a:t>
            </a:r>
            <a:endParaRPr lang="en-GB" sz="2800" dirty="0">
              <a:latin typeface="+mj-lt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507265" y="836712"/>
            <a:ext cx="2079865" cy="1543539"/>
            <a:chOff x="507265" y="968833"/>
            <a:chExt cx="2079865" cy="1543539"/>
          </a:xfrm>
        </p:grpSpPr>
        <p:pic>
          <p:nvPicPr>
            <p:cNvPr id="2050" name="Picture 2" descr="http://downloads.lww.com/wolterskluwer_vitalstream_com/sample-content/9780781788786_Craven/samples/mod09/img/2a_02.jp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176" y="968833"/>
              <a:ext cx="1887954" cy="12605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ectangle 3"/>
            <p:cNvSpPr/>
            <p:nvPr/>
          </p:nvSpPr>
          <p:spPr>
            <a:xfrm>
              <a:off x="507265" y="2266151"/>
              <a:ext cx="187743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Insert flowmeter into wall </a:t>
              </a:r>
              <a:r>
                <a:rPr lang="en-US" sz="10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outlet</a:t>
              </a:r>
              <a:endParaRPr lang="en-GB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6231458" y="836712"/>
            <a:ext cx="2319689" cy="1697427"/>
            <a:chOff x="6231458" y="968833"/>
            <a:chExt cx="2319689" cy="1697427"/>
          </a:xfrm>
        </p:grpSpPr>
        <p:pic>
          <p:nvPicPr>
            <p:cNvPr id="2054" name="Picture 6" descr="http://downloads.lww.com/wolterskluwer_vitalstream_com/sample-content/9780781788786_Craven/samples/mod09/img/2a_04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3369" y="968833"/>
              <a:ext cx="1887954" cy="12605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Rectangle 4"/>
            <p:cNvSpPr/>
            <p:nvPr/>
          </p:nvSpPr>
          <p:spPr>
            <a:xfrm>
              <a:off x="6231458" y="2266150"/>
              <a:ext cx="2319689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ttach oxygen tubing </a:t>
              </a:r>
              <a:r>
                <a:rPr lang="en-US" sz="10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to humidifier or direct to flowmeter</a:t>
              </a:r>
              <a:endParaRPr lang="en-GB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3341633" y="836712"/>
            <a:ext cx="2208561" cy="1697427"/>
            <a:chOff x="3341633" y="968833"/>
            <a:chExt cx="2208561" cy="1697427"/>
          </a:xfrm>
        </p:grpSpPr>
        <p:pic>
          <p:nvPicPr>
            <p:cNvPr id="2052" name="Picture 4" descr="http://downloads.lww.com/wolterskluwer_vitalstream_com/sample-content/9780781788786_Craven/samples/mod09/img/2a_03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33544" y="968833"/>
              <a:ext cx="1887954" cy="12605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3341633" y="2266150"/>
              <a:ext cx="220856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If using a high O2 flow, attach humidifier </a:t>
              </a:r>
              <a:endParaRPr lang="en-GB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07265" y="2521359"/>
            <a:ext cx="2208561" cy="1699607"/>
            <a:chOff x="507265" y="2759532"/>
            <a:chExt cx="2208561" cy="1699607"/>
          </a:xfrm>
        </p:grpSpPr>
        <p:pic>
          <p:nvPicPr>
            <p:cNvPr id="2056" name="Picture 8" descr="http://downloads.lww.com/wolterskluwer_vitalstream_com/sample-content/9780781788786_Craven/samples/mod09/img/2a_05.jp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176" y="2759532"/>
              <a:ext cx="1887954" cy="12605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/>
            <p:cNvSpPr/>
            <p:nvPr/>
          </p:nvSpPr>
          <p:spPr>
            <a:xfrm>
              <a:off x="507265" y="4059029"/>
              <a:ext cx="220856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Turn on the oxygen at the prescribed rate</a:t>
              </a:r>
              <a:endParaRPr lang="en-GB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3341633" y="2521359"/>
            <a:ext cx="2185693" cy="1688664"/>
            <a:chOff x="3341633" y="2759532"/>
            <a:chExt cx="2185693" cy="1688664"/>
          </a:xfrm>
        </p:grpSpPr>
        <p:pic>
          <p:nvPicPr>
            <p:cNvPr id="2058" name="Picture 10" descr="http://downloads.lww.com/wolterskluwer_vitalstream_com/sample-content/9780781788786_Craven/samples/mod09/img/2a_06.jp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33544" y="2759532"/>
              <a:ext cx="1887954" cy="12605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ctangle 7"/>
            <p:cNvSpPr/>
            <p:nvPr/>
          </p:nvSpPr>
          <p:spPr>
            <a:xfrm>
              <a:off x="3341633" y="4048086"/>
              <a:ext cx="218569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Ensure the oxygen is flowing through the tubing</a:t>
              </a:r>
              <a:endParaRPr lang="en-GB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231458" y="2504791"/>
            <a:ext cx="2183749" cy="1703205"/>
            <a:chOff x="6231458" y="2742964"/>
            <a:chExt cx="2183749" cy="1703205"/>
          </a:xfrm>
        </p:grpSpPr>
        <p:pic>
          <p:nvPicPr>
            <p:cNvPr id="9" name="Picture 2" descr="http://downloads.lww.com/wolterskluwer_vitalstream_com/sample-content/9780781788786_Craven/samples/mod09/img/2a_07.jp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8556" y="2742964"/>
              <a:ext cx="1907707" cy="12737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Rectangle 17"/>
            <p:cNvSpPr/>
            <p:nvPr/>
          </p:nvSpPr>
          <p:spPr>
            <a:xfrm>
              <a:off x="6231458" y="4046059"/>
              <a:ext cx="2183749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Hold nasal cannula in proper position with prongs curving downward</a:t>
              </a:r>
              <a:endParaRPr lang="en-GB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507265" y="4255104"/>
            <a:ext cx="2099617" cy="1521494"/>
            <a:chOff x="507265" y="4649154"/>
            <a:chExt cx="2099617" cy="1521494"/>
          </a:xfrm>
        </p:grpSpPr>
        <p:pic>
          <p:nvPicPr>
            <p:cNvPr id="10" name="Picture 4" descr="http://downloads.lww.com/wolterskluwer_vitalstream_com/sample-content/9780781788786_Craven/samples/mod09/img/2a_08.jp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175" y="4649154"/>
              <a:ext cx="1907707" cy="12561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Rectangle 18"/>
            <p:cNvSpPr/>
            <p:nvPr/>
          </p:nvSpPr>
          <p:spPr>
            <a:xfrm>
              <a:off x="507265" y="5924427"/>
              <a:ext cx="1832553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Place cannula prongs into nares</a:t>
              </a:r>
              <a:endParaRPr lang="en-GB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316821" y="4232983"/>
            <a:ext cx="2099617" cy="1580188"/>
            <a:chOff x="3316821" y="4627033"/>
            <a:chExt cx="2099617" cy="1580188"/>
          </a:xfrm>
        </p:grpSpPr>
        <p:pic>
          <p:nvPicPr>
            <p:cNvPr id="11" name="Picture 6" descr="http://downloads.lww.com/wolterskluwer_vitalstream_com/sample-content/9780781788786_Craven/samples/mod09/img/2a_09.jp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08731" y="4627033"/>
              <a:ext cx="1907707" cy="12737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Rectangle 19"/>
            <p:cNvSpPr/>
            <p:nvPr/>
          </p:nvSpPr>
          <p:spPr>
            <a:xfrm>
              <a:off x="3316821" y="5961000"/>
              <a:ext cx="196239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Wrap tubing over and behind ears</a:t>
              </a:r>
              <a:endParaRPr lang="en-GB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6255676" y="4232983"/>
            <a:ext cx="2416051" cy="1697504"/>
            <a:chOff x="6255676" y="4627033"/>
            <a:chExt cx="2416051" cy="1697504"/>
          </a:xfrm>
        </p:grpSpPr>
        <p:pic>
          <p:nvPicPr>
            <p:cNvPr id="12" name="Picture 8" descr="http://downloads.lww.com/wolterskluwer_vitalstream_com/sample-content/9780781788786_Craven/samples/mod09/img/2a_10.jp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3368" y="4627033"/>
              <a:ext cx="1907707" cy="12737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Rectangle 20"/>
            <p:cNvSpPr/>
            <p:nvPr/>
          </p:nvSpPr>
          <p:spPr>
            <a:xfrm>
              <a:off x="6255676" y="5924427"/>
              <a:ext cx="241605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djust plastic slide under chin until cannula fits snugly </a:t>
              </a:r>
              <a:endParaRPr lang="en-GB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8798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Standard &amp; Cushion O</a:t>
            </a:r>
            <a:r>
              <a:rPr lang="en-US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Cannul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343536" y="1204145"/>
            <a:ext cx="5644309" cy="3428746"/>
          </a:xfrm>
          <a:prstGeom prst="rect">
            <a:avLst/>
          </a:prstGeom>
        </p:spPr>
        <p:txBody>
          <a:bodyPr/>
          <a:lstStyle/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vailable 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 </a:t>
            </a: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 variety of 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zes, lengths of oxygen </a:t>
            </a: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ubing</a:t>
            </a:r>
          </a:p>
          <a:p>
            <a:pPr marL="800100" lvl="1" indent="-34290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ll cannulas come with crush-resistant tubing</a:t>
            </a:r>
            <a:b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endParaRPr lang="en-US" sz="1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wo top-selling categories:  Standard &amp; Cushion cannulas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tandard available in flared tip and non-flared tip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ushion has a softer nosepiece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endParaRPr lang="en-US" sz="16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“Lead With”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001320 or 001325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002600</a:t>
            </a:r>
          </a:p>
          <a:p>
            <a:pPr marL="287338" lvl="0" indent="-287338">
              <a:spcBef>
                <a:spcPct val="20000"/>
              </a:spcBef>
              <a:defRPr/>
            </a:pPr>
            <a:endParaRPr lang="en-US" b="1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6" name="Picture 5" descr="001309.jpg"/>
          <p:cNvPicPr>
            <a:picLocks noChangeAspect="1"/>
          </p:cNvPicPr>
          <p:nvPr/>
        </p:nvPicPr>
        <p:blipFill rotWithShape="1">
          <a:blip r:embed="rId3" cstate="print"/>
          <a:srcRect l="2931" t="2160" r="2931" b="2160"/>
          <a:stretch/>
        </p:blipFill>
        <p:spPr>
          <a:xfrm>
            <a:off x="6428251" y="1204145"/>
            <a:ext cx="1680851" cy="1422867"/>
          </a:xfrm>
          <a:prstGeom prst="rect">
            <a:avLst/>
          </a:prstGeom>
          <a:ln>
            <a:noFill/>
          </a:ln>
        </p:spPr>
      </p:pic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08065" y="6580731"/>
            <a:ext cx="4493623" cy="229235"/>
          </a:xfrm>
        </p:spPr>
        <p:txBody>
          <a:bodyPr/>
          <a:lstStyle/>
          <a:p>
            <a:r>
              <a:rPr lang="en-US" sz="700" dirty="0" smtClean="0"/>
              <a:t>© 2013 CareFusion Corporation or one of its subsidiaries. All rights reserved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2793852"/>
              </p:ext>
            </p:extLst>
          </p:nvPr>
        </p:nvGraphicFramePr>
        <p:xfrm>
          <a:off x="827584" y="4221088"/>
          <a:ext cx="5434967" cy="14339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00545"/>
                <a:gridCol w="4534422"/>
              </a:tblGrid>
              <a:tr h="2655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sng" strike="noStrike" dirty="0" smtClean="0">
                          <a:effectLst/>
                          <a:latin typeface="+mn-lt"/>
                        </a:rPr>
                        <a:t>Code </a:t>
                      </a:r>
                      <a:endParaRPr lang="en-US" sz="1200" b="1" i="0" u="sng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sng" strike="noStrike" dirty="0">
                          <a:effectLst/>
                          <a:latin typeface="+mn-lt"/>
                        </a:rPr>
                        <a:t>Description</a:t>
                      </a:r>
                      <a:endParaRPr lang="en-US" sz="1200" b="1" i="0" u="sng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38949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013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ANNULA CRVD FLAIR TIP W/7FT DISP 50/CS</a:t>
                      </a:r>
                    </a:p>
                  </a:txBody>
                  <a:tcPr marL="9525" marR="9525" marT="9525" marB="0" anchor="b"/>
                </a:tc>
              </a:tr>
              <a:tr h="38949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013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pt-B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ANNULA CRVD N-FLAIR TIP W/7FT</a:t>
                      </a:r>
                    </a:p>
                  </a:txBody>
                  <a:tcPr marL="9525" marR="9525" marT="9525" marB="0" anchor="b"/>
                </a:tc>
              </a:tr>
              <a:tr h="38949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026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NNULA NASAL SOFT W/7FT TUBING 50/CS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pic>
        <p:nvPicPr>
          <p:cNvPr id="8" name="Picture 4" descr="https://carefusion.widencollective.com/thumbnail/cb01bbe3-1c28-483a-8df8-cd019998f493/av/2048px/AL_0315-0075.jpg?t=1471535819779&amp;s=8928ba6398adaccd0a80ff50bf1872966d1f6d7d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3" t="7077" r="5747"/>
          <a:stretch/>
        </p:blipFill>
        <p:spPr bwMode="auto">
          <a:xfrm>
            <a:off x="6439748" y="2708920"/>
            <a:ext cx="1680852" cy="1374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8280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7993464" cy="1143000"/>
          </a:xfrm>
        </p:spPr>
        <p:txBody>
          <a:bodyPr/>
          <a:lstStyle/>
          <a:p>
            <a:r>
              <a:rPr lang="en-GB" dirty="0" smtClean="0"/>
              <a:t>Standard Nasal Cannula Portfolio Expansion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7</a:t>
            </a:fld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8785268"/>
              </p:ext>
            </p:extLst>
          </p:nvPr>
        </p:nvGraphicFramePr>
        <p:xfrm>
          <a:off x="545698" y="1578412"/>
          <a:ext cx="4759832" cy="855345"/>
        </p:xfrm>
        <a:graphic>
          <a:graphicData uri="http://schemas.openxmlformats.org/drawingml/2006/table">
            <a:tbl>
              <a:tblPr/>
              <a:tblGrid>
                <a:gridCol w="578550"/>
                <a:gridCol w="3317865"/>
                <a:gridCol w="863417"/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 Numbe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 </a:t>
                      </a:r>
                      <a:endParaRPr lang="en-GB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 Languages</a:t>
                      </a:r>
                      <a:endParaRPr lang="en-GB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30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sal Cannula, Adult, curved flared tip, without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ubin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3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sal Cannula, Adult, Curved Flared Tip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.1M tubin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3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sal Cannula, Adult, Curved Non- Flared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p,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1M  tubing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45698" y="1188983"/>
            <a:ext cx="3483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vailable Previously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949936"/>
              </p:ext>
            </p:extLst>
          </p:nvPr>
        </p:nvGraphicFramePr>
        <p:xfrm>
          <a:off x="545699" y="3158123"/>
          <a:ext cx="6367568" cy="2000540"/>
        </p:xfrm>
        <a:graphic>
          <a:graphicData uri="http://schemas.openxmlformats.org/drawingml/2006/table">
            <a:tbl>
              <a:tblPr/>
              <a:tblGrid>
                <a:gridCol w="559620"/>
                <a:gridCol w="4553730"/>
                <a:gridCol w="627109"/>
                <a:gridCol w="627109"/>
              </a:tblGrid>
              <a:tr h="156219"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KU</a:t>
                      </a:r>
                    </a:p>
                  </a:txBody>
                  <a:tcPr marL="7811" marR="7811" marT="7811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duct description</a:t>
                      </a:r>
                    </a:p>
                  </a:txBody>
                  <a:tcPr marL="7811" marR="7811" marT="7811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old</a:t>
                      </a:r>
                      <a:r>
                        <a:rPr lang="en-GB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Now</a:t>
                      </a:r>
                      <a:endParaRPr lang="en-GB" sz="9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 Languages</a:t>
                      </a:r>
                    </a:p>
                  </a:txBody>
                  <a:tcPr marL="7811" marR="7811" marT="7811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219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01309</a:t>
                      </a: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sal Oxygen Cannula Curved, Flared Tip, Over-The-Ear Style, no tubing</a:t>
                      </a: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219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01311</a:t>
                      </a: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sal Oxygen Cannula Curved, Nonflared Tip, Over-The-Ear Style, no tubing</a:t>
                      </a: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219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01320</a:t>
                      </a: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sal Oxygen Cannula Curved, Flared Tip, with 2.1 m (7ft)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ubin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219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01365</a:t>
                      </a: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sal Oxygen Cannula Curved, Flared Tip, with 2.1m (7ft)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ith U-Connect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tubin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219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01321</a:t>
                      </a: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sal Oxygen Cannula Curved, Flared Tip, with 4.2 m (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ft) Tubin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219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01322</a:t>
                      </a: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sal Oxygen Cannula Curved, Flared Tip, with 6.4m (21ft)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ubin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219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01325</a:t>
                      </a: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sal Oxygen Cannula Curved,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nflared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Tip, with 2.1m (7ft)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ubin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219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01366</a:t>
                      </a: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sal Oxygen Cannula Curved,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nflared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Tip, with 2.1 m (7ft)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ith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-connect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ubin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219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01326</a:t>
                      </a: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sal Oxygen Cannula Curved,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nflared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Tip, with 4.2m (14ft)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ubin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219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01327</a:t>
                      </a: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sal Oxygen Cannula Curved,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nflared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Tip, with 6.4m (21ft)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ubin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219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01329</a:t>
                      </a: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sal Oxygen Cannula Curved,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nflared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Tip, with 15.2m (50ft)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ubin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11" marR="7811" marT="7811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45697" y="2718007"/>
            <a:ext cx="3483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vailable From January 17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702906" y="1558315"/>
            <a:ext cx="2918580" cy="1159692"/>
          </a:xfrm>
          <a:prstGeom prst="rect">
            <a:avLst/>
          </a:prstGeom>
          <a:solidFill>
            <a:srgbClr val="10D2FF"/>
          </a:solidFill>
          <a:ln>
            <a:solidFill>
              <a:srgbClr val="10D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 smtClean="0"/>
              <a:t>Take Aw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Additional Sizes 2.1 / 4.2 / 6.4m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U-connect in 2.1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Moving to DEHP Fre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More Languages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334421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7993464" cy="1143000"/>
          </a:xfrm>
        </p:spPr>
        <p:txBody>
          <a:bodyPr/>
          <a:lstStyle/>
          <a:p>
            <a:r>
              <a:rPr lang="en-GB" dirty="0" smtClean="0"/>
              <a:t>Cushion Nasal Cannula Portfolio Expansion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8</a:t>
            </a:fld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4287963"/>
              </p:ext>
            </p:extLst>
          </p:nvPr>
        </p:nvGraphicFramePr>
        <p:xfrm>
          <a:off x="545698" y="1578412"/>
          <a:ext cx="4759832" cy="855345"/>
        </p:xfrm>
        <a:graphic>
          <a:graphicData uri="http://schemas.openxmlformats.org/drawingml/2006/table">
            <a:tbl>
              <a:tblPr/>
              <a:tblGrid>
                <a:gridCol w="578550"/>
                <a:gridCol w="3317865"/>
                <a:gridCol w="863417"/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 Numbe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 </a:t>
                      </a:r>
                      <a:endParaRPr lang="en-GB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 Languages</a:t>
                      </a:r>
                      <a:endParaRPr lang="en-GB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26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sal Cannula, Adult, Soft, with 7ft / 2.1M tubing  50/c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26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sal Cannula, Neonate with 7ft / 2.1M tubing  50/c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260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sal Cannula,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adiatric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ith 7ft / 2.1M tubing  50/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45698" y="1188983"/>
            <a:ext cx="3483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vailable Previously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45697" y="2718007"/>
            <a:ext cx="3483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vailable From January 17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702906" y="1558315"/>
            <a:ext cx="2918580" cy="1529024"/>
          </a:xfrm>
          <a:prstGeom prst="rect">
            <a:avLst/>
          </a:prstGeom>
          <a:solidFill>
            <a:srgbClr val="10D2FF"/>
          </a:solidFill>
          <a:ln>
            <a:solidFill>
              <a:srgbClr val="10D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 smtClean="0"/>
              <a:t>Take Aw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Infant Siz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Additional Sizes 2.1 / 4.2 / 7.6 / 15m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U-connect in 2.1m / 4.2M (Adul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Moving to DEHP fre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More Languages</a:t>
            </a:r>
            <a:endParaRPr lang="en-GB" sz="1400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8972412"/>
              </p:ext>
            </p:extLst>
          </p:nvPr>
        </p:nvGraphicFramePr>
        <p:xfrm>
          <a:off x="545697" y="3211637"/>
          <a:ext cx="8075790" cy="2419390"/>
        </p:xfrm>
        <a:graphic>
          <a:graphicData uri="http://schemas.openxmlformats.org/drawingml/2006/table">
            <a:tbl>
              <a:tblPr/>
              <a:tblGrid>
                <a:gridCol w="579718"/>
                <a:gridCol w="5399924"/>
                <a:gridCol w="1048074"/>
                <a:gridCol w="1048074"/>
              </a:tblGrid>
              <a:tr h="152674"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KU</a:t>
                      </a:r>
                    </a:p>
                  </a:txBody>
                  <a:tcPr marL="7634" marR="7634" marT="7634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ct description</a:t>
                      </a:r>
                    </a:p>
                  </a:txBody>
                  <a:tcPr marL="7634" marR="7634" marT="7634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ld now</a:t>
                      </a:r>
                      <a:endParaRPr lang="en-GB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 Languages</a:t>
                      </a:r>
                      <a:endParaRPr lang="en-GB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ctr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674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2611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onate Cushion Nasal Cannula, 2.1 m (7') Crush resistant Oxygen Tubing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674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2601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fant Cushion Nasal Cannula, 2.1 m (7') Crush Resistant Oxygen Tubing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674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2602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diatric Cushion Nasal Cannula, 2.1 m (7') Crush Resistant Oxygen Tubing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674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2662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diatric Cushion Nasal Cannula, 2.1 m (7') No Tubing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674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2692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diatric Cushion Nasal Cannula, 2.1 m (7')with U-connect tubing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674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2606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Cushion Nasal Cannula, 2.1 m (7') No Tubing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674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2600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Cushion Nasal Cannula, 2.1 m (7') Crush Resistant Oxygen Tubing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674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2699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Cushion Nasal Cannula, 2.1 m (7') U-connect Crush Resistant Oxygen Tubing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674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2600-14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Cushion Nasal Cannula, 4.2 m (14') Crush Resistant Oxygen Tubing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674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2600-14U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Cushion Nasal Cannula, 4.2 m (14') U-connect Crush Resistant Oxygen Tubing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674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2600-25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Cushion Nasal Cannula, 7.6 m (25') Crush Resistant Oxygen Tubing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674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2600-50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Cushion Nasal Cannula,  15 m (50') Crush Resistant Oxygen Tubing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674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2600-4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Cushion Nasal Cannula, 1.2 m (4') Crush Resistant Oxygen Tubing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674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2630-4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ult Cushion Nasal Cannula, Flared tip1.2 m (4') Crush Resistant Oxygen Tubing</a:t>
                      </a: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34" marR="7634" marT="7634" marB="0" anchor="b">
                    <a:lnL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8325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oft Cannula.jpg"/>
          <p:cNvPicPr>
            <a:picLocks noChangeAspect="1"/>
          </p:cNvPicPr>
          <p:nvPr/>
        </p:nvPicPr>
        <p:blipFill>
          <a:blip r:embed="rId3" cstate="print"/>
          <a:srcRect t="11386"/>
          <a:stretch>
            <a:fillRect/>
          </a:stretch>
        </p:blipFill>
        <p:spPr>
          <a:xfrm>
            <a:off x="1853368" y="2658920"/>
            <a:ext cx="5140379" cy="2871958"/>
          </a:xfrm>
          <a:prstGeom prst="rect">
            <a:avLst/>
          </a:prstGeom>
        </p:spPr>
      </p:pic>
      <p:sp>
        <p:nvSpPr>
          <p:cNvPr id="4" name="Content Placeholder 2"/>
          <p:cNvSpPr txBox="1">
            <a:spLocks/>
          </p:cNvSpPr>
          <p:nvPr/>
        </p:nvSpPr>
        <p:spPr>
          <a:xfrm>
            <a:off x="308758" y="1215930"/>
            <a:ext cx="8229600" cy="4525963"/>
          </a:xfrm>
          <a:prstGeom prst="rect">
            <a:avLst/>
          </a:prstGeom>
        </p:spPr>
        <p:txBody>
          <a:bodyPr/>
          <a:lstStyle/>
          <a:p>
            <a:pPr marL="287338" indent="-287338">
              <a:spcBef>
                <a:spcPct val="20000"/>
              </a:spcBef>
              <a:defRPr/>
            </a:pPr>
            <a:r>
              <a:rPr lang="en-US" sz="2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s and Benefits</a:t>
            </a: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er material in the lariat helps prevent skin breakdown around the ears</a:t>
            </a: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nosepiece as cushion cannulas (002600)</a:t>
            </a:r>
          </a:p>
          <a:p>
            <a:pPr marL="287338" indent="-287338">
              <a:spcBef>
                <a:spcPct val="20000"/>
              </a:spcBef>
            </a:pPr>
            <a:endParaRPr lang="en-US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38" indent="-287338">
              <a:spcBef>
                <a:spcPct val="20000"/>
              </a:spcBef>
            </a:pPr>
            <a:endParaRPr lang="en-US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38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38" indent="-287338">
              <a:spcBef>
                <a:spcPct val="20000"/>
              </a:spcBef>
              <a:defRPr/>
            </a:pPr>
            <a:endParaRPr lang="en-US" sz="20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38" indent="-287338">
              <a:spcBef>
                <a:spcPct val="20000"/>
              </a:spcBef>
              <a:defRPr/>
            </a:pPr>
            <a:endParaRPr lang="en-US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08758" y="377550"/>
            <a:ext cx="8378042" cy="698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 fontScale="97500"/>
          </a:bodyPr>
          <a:lstStyle/>
          <a:p>
            <a:pPr>
              <a:spcBef>
                <a:spcPct val="0"/>
              </a:spcBef>
              <a:defRPr/>
            </a:pPr>
            <a:r>
              <a:rPr lang="en-US" sz="2800" dirty="0" smtClean="0">
                <a:solidFill>
                  <a:srgbClr val="17307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ft Cushion Cannula</a:t>
            </a:r>
            <a:endParaRPr lang="en-US" sz="28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08065" y="6466114"/>
            <a:ext cx="4493623" cy="229235"/>
          </a:xfrm>
        </p:spPr>
        <p:txBody>
          <a:bodyPr/>
          <a:lstStyle/>
          <a:p>
            <a:r>
              <a:rPr lang="en-US" sz="700" dirty="0" smtClean="0">
                <a:solidFill>
                  <a:prstClr val="black"/>
                </a:solidFill>
              </a:rPr>
              <a:t>© 2013 CareFusion Corporation or one of its subsidiaries. All rights reserved.</a:t>
            </a:r>
          </a:p>
        </p:txBody>
      </p:sp>
      <p:sp>
        <p:nvSpPr>
          <p:cNvPr id="2" name="Flowchart: Punched Tape 1"/>
          <p:cNvSpPr/>
          <p:nvPr/>
        </p:nvSpPr>
        <p:spPr>
          <a:xfrm>
            <a:off x="6260121" y="271653"/>
            <a:ext cx="2278235" cy="1175310"/>
          </a:xfrm>
          <a:prstGeom prst="flowChartPunchedTape">
            <a:avLst/>
          </a:prstGeom>
          <a:solidFill>
            <a:srgbClr val="10D2FF"/>
          </a:solidFill>
          <a:ln>
            <a:solidFill>
              <a:srgbClr val="10D2F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 smtClean="0">
                <a:solidFill>
                  <a:schemeClr val="bg1"/>
                </a:solidFill>
              </a:rPr>
              <a:t>New Range!! </a:t>
            </a:r>
          </a:p>
          <a:p>
            <a:pPr algn="ctr"/>
            <a:r>
              <a:rPr lang="en-GB" dirty="0" smtClean="0">
                <a:solidFill>
                  <a:schemeClr val="bg1"/>
                </a:solidFill>
              </a:rPr>
              <a:t>Available Jan 17</a:t>
            </a:r>
          </a:p>
        </p:txBody>
      </p:sp>
    </p:spTree>
    <p:extLst>
      <p:ext uri="{BB962C8B-B14F-4D97-AF65-F5344CB8AC3E}">
        <p14:creationId xmlns:p14="http://schemas.microsoft.com/office/powerpoint/2010/main" val="1828007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yaire 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Vyaire B">
  <a:themeElements>
    <a:clrScheme name="Vyaire Palette A">
      <a:dk1>
        <a:srgbClr val="0C1525"/>
      </a:dk1>
      <a:lt1>
        <a:sysClr val="window" lastClr="FFFFFF"/>
      </a:lt1>
      <a:dk2>
        <a:srgbClr val="1F497D"/>
      </a:dk2>
      <a:lt2>
        <a:srgbClr val="D0D8E8"/>
      </a:lt2>
      <a:accent1>
        <a:srgbClr val="72B1D4"/>
      </a:accent1>
      <a:accent2>
        <a:srgbClr val="7E7E7E"/>
      </a:accent2>
      <a:accent3>
        <a:srgbClr val="BFBFBF"/>
      </a:accent3>
      <a:accent4>
        <a:srgbClr val="8064A2"/>
      </a:accent4>
      <a:accent5>
        <a:srgbClr val="4BACC6"/>
      </a:accent5>
      <a:accent6>
        <a:srgbClr val="F79646"/>
      </a:accent6>
      <a:hlink>
        <a:srgbClr val="32B0D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063</Words>
  <Application>Microsoft Office PowerPoint</Application>
  <PresentationFormat>On-screen Show (4:3)</PresentationFormat>
  <Paragraphs>863</Paragraphs>
  <Slides>43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2" baseType="lpstr">
      <vt:lpstr>맑은 고딕</vt:lpstr>
      <vt:lpstr>Arial</vt:lpstr>
      <vt:lpstr>Calibri</vt:lpstr>
      <vt:lpstr>Kip_Resp</vt:lpstr>
      <vt:lpstr>Times New Roman</vt:lpstr>
      <vt:lpstr>Verdana</vt:lpstr>
      <vt:lpstr>Vyaire A</vt:lpstr>
      <vt:lpstr>Vyaire B</vt:lpstr>
      <vt:lpstr>think-cell Slide</vt:lpstr>
      <vt:lpstr>PowerPoint Presentation</vt:lpstr>
      <vt:lpstr>Oxygen Cannulas</vt:lpstr>
      <vt:lpstr>Agenda</vt:lpstr>
      <vt:lpstr>Nasal Cannula</vt:lpstr>
      <vt:lpstr>Utilising Nasal Cannula </vt:lpstr>
      <vt:lpstr>Standard &amp; Cushion O2 Cannulas</vt:lpstr>
      <vt:lpstr>Standard Nasal Cannula Portfolio Expansion</vt:lpstr>
      <vt:lpstr>Cushion Nasal Cannula Portfolio Expansion</vt:lpstr>
      <vt:lpstr>PowerPoint Presentation</vt:lpstr>
      <vt:lpstr>Soft Cushion Nasal Cannula Portfolio Expansion</vt:lpstr>
      <vt:lpstr>PowerPoint Presentation</vt:lpstr>
      <vt:lpstr>Cushion Nasal Cannula Portfolio Expansion</vt:lpstr>
      <vt:lpstr>Soft Cushion &amp; Foam Cover Cannulas</vt:lpstr>
      <vt:lpstr>14-ft U/Connect-it Cannulas</vt:lpstr>
      <vt:lpstr>Oxygen Masks</vt:lpstr>
      <vt:lpstr>Simple Mask</vt:lpstr>
      <vt:lpstr>AirLife Oxygen Masks</vt:lpstr>
      <vt:lpstr>Partial Rebreather Mask</vt:lpstr>
      <vt:lpstr>Non-Rebreathing Mask</vt:lpstr>
      <vt:lpstr>Oxygen Masks</vt:lpstr>
      <vt:lpstr>Tracheostomy Collar/Mask</vt:lpstr>
      <vt:lpstr>Oxygen Mask Portfolio Expansion </vt:lpstr>
      <vt:lpstr>Oxygen Mask &amp; Tubing Portfolio Expansion </vt:lpstr>
      <vt:lpstr>Venturi Mask</vt:lpstr>
      <vt:lpstr>AirLife Venturi, Aerosol, Trach Masks</vt:lpstr>
      <vt:lpstr>Oxygen Mask &amp; Tubing Portfolio Expansion </vt:lpstr>
      <vt:lpstr>Utilising a Face Mask</vt:lpstr>
      <vt:lpstr>O2 range by product</vt:lpstr>
      <vt:lpstr>What the Doctor Ordered….</vt:lpstr>
      <vt:lpstr>ETCO2 Monitoring</vt:lpstr>
      <vt:lpstr>What is EtCO2?</vt:lpstr>
      <vt:lpstr>Why EtCO2?</vt:lpstr>
      <vt:lpstr>What is Capnography?</vt:lpstr>
      <vt:lpstr>What is Capnography?</vt:lpstr>
      <vt:lpstr>AirLife ETCO2 Sampling Cannula</vt:lpstr>
      <vt:lpstr>AirLife ETCO2 Sampling Cannula</vt:lpstr>
      <vt:lpstr>AirLife ETCO2 Cannulas:  Departments</vt:lpstr>
      <vt:lpstr>AirLife ETCO2 Sampling Cannula</vt:lpstr>
      <vt:lpstr>New ETCO2 Cannulas</vt:lpstr>
      <vt:lpstr>AirLife ETCO2 Cannulas: Compatibility</vt:lpstr>
      <vt:lpstr>AirLife ETCO2 Cannulas: Compatibility</vt:lpstr>
      <vt:lpstr>CARESCAPE™ ETCO2 Cannulas:</vt:lpstr>
      <vt:lpstr>Questions?</vt:lpstr>
    </vt:vector>
  </TitlesOfParts>
  <Company>L13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rry M</dc:creator>
  <cp:lastModifiedBy>Hoang-Pfennig, Bach</cp:lastModifiedBy>
  <cp:revision>331</cp:revision>
  <cp:lastPrinted>2016-11-01T11:14:08Z</cp:lastPrinted>
  <dcterms:created xsi:type="dcterms:W3CDTF">2016-09-28T18:54:25Z</dcterms:created>
  <dcterms:modified xsi:type="dcterms:W3CDTF">2018-01-03T14:25:25Z</dcterms:modified>
</cp:coreProperties>
</file>